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7"/>
  </p:notesMasterIdLst>
  <p:sldIdLst>
    <p:sldId id="301" r:id="rId2"/>
    <p:sldId id="302" r:id="rId3"/>
    <p:sldId id="304" r:id="rId4"/>
    <p:sldId id="305" r:id="rId5"/>
    <p:sldId id="306" r:id="rId6"/>
  </p:sldIdLst>
  <p:sldSz cx="12192000" cy="6858000"/>
  <p:notesSz cx="6797675" cy="9928225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4A3"/>
    <a:srgbClr val="0868B1"/>
    <a:srgbClr val="ECECEC"/>
    <a:srgbClr val="0467A7"/>
    <a:srgbClr val="1479AA"/>
    <a:srgbClr val="0070C0"/>
    <a:srgbClr val="338DCD"/>
    <a:srgbClr val="3B75AA"/>
    <a:srgbClr val="0467A9"/>
    <a:srgbClr val="0C52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4" autoAdjust="0"/>
    <p:restoredTop sz="89406" autoAdjust="0"/>
  </p:normalViewPr>
  <p:slideViewPr>
    <p:cSldViewPr snapToGrid="0">
      <p:cViewPr varScale="1">
        <p:scale>
          <a:sx n="70" d="100"/>
          <a:sy n="70" d="100"/>
        </p:scale>
        <p:origin x="182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309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480A34-05D1-A44E-80B6-69ED4D3F2C85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99508B-E832-B743-8A63-DB2716A2626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29069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RGPD, l’</a:t>
            </a:r>
            <a:r>
              <a:rPr lang="fr-FR" dirty="0" err="1" smtClean="0"/>
              <a:t>accronyme</a:t>
            </a:r>
            <a:r>
              <a:rPr lang="fr-FR" dirty="0" smtClean="0"/>
              <a:t> « francisé » de</a:t>
            </a:r>
            <a:r>
              <a:rPr lang="fr-FR" baseline="0" dirty="0" smtClean="0"/>
              <a:t> la directive Européenne « GDPR »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9508B-E832-B743-8A63-DB2716A2626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5624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9508B-E832-B743-8A63-DB2716A2626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4654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9508B-E832-B743-8A63-DB2716A2626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1934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1489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9781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6225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ZoneTexte 13"/>
          <p:cNvSpPr txBox="1"/>
          <p:nvPr userDrawn="1"/>
        </p:nvSpPr>
        <p:spPr>
          <a:xfrm>
            <a:off x="11564489" y="6571426"/>
            <a:ext cx="605741" cy="26161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fld id="{43A08B60-86A2-4B44-8EEB-8ECFDB794840}" type="slidenum">
              <a:rPr lang="fr-FR" sz="11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‹#›</a:t>
            </a:fld>
            <a:endParaRPr lang="fr-FR" sz="11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386521" y="2974611"/>
            <a:ext cx="5387136" cy="49779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cxnSp>
        <p:nvCxnSpPr>
          <p:cNvPr id="18" name="Connecteur droit 17"/>
          <p:cNvCxnSpPr/>
          <p:nvPr userDrawn="1"/>
        </p:nvCxnSpPr>
        <p:spPr>
          <a:xfrm flipV="1">
            <a:off x="0" y="3472018"/>
            <a:ext cx="12192000" cy="775"/>
          </a:xfrm>
          <a:prstGeom prst="line">
            <a:avLst/>
          </a:prstGeom>
          <a:ln w="317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843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/>
          <p:cNvCxnSpPr/>
          <p:nvPr userDrawn="1"/>
        </p:nvCxnSpPr>
        <p:spPr>
          <a:xfrm flipV="1">
            <a:off x="0" y="763929"/>
            <a:ext cx="12192000" cy="775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86521" y="188640"/>
            <a:ext cx="1154697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86521" y="979953"/>
            <a:ext cx="11546977" cy="5374023"/>
          </a:xfrm>
        </p:spPr>
        <p:txBody>
          <a:bodyPr numCol="1">
            <a:normAutofit/>
          </a:bodyPr>
          <a:lstStyle>
            <a:lvl1pPr marL="0" indent="0">
              <a:buNone/>
              <a:defRPr sz="900">
                <a:latin typeface="Arial" charset="0"/>
                <a:ea typeface="Arial" charset="0"/>
                <a:cs typeface="Arial" charset="0"/>
              </a:defRPr>
            </a:lvl1pPr>
            <a:lvl2pPr marL="361800">
              <a:defRPr sz="900">
                <a:latin typeface="Arial" charset="0"/>
                <a:ea typeface="Arial" charset="0"/>
                <a:cs typeface="Arial" charset="0"/>
              </a:defRPr>
            </a:lvl2pPr>
            <a:lvl3pPr marL="720000">
              <a:defRPr sz="900">
                <a:latin typeface="Arial" charset="0"/>
                <a:ea typeface="Arial" charset="0"/>
                <a:cs typeface="Arial" charset="0"/>
              </a:defRPr>
            </a:lvl3pPr>
            <a:lvl4pPr marL="1080000">
              <a:defRPr sz="900">
                <a:latin typeface="Arial" charset="0"/>
                <a:ea typeface="Arial" charset="0"/>
                <a:cs typeface="Arial" charset="0"/>
              </a:defRPr>
            </a:lvl4pPr>
            <a:lvl5pPr marL="1440000">
              <a:defRPr sz="9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70369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4709846" y="2847290"/>
            <a:ext cx="2772308" cy="863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sz="quarter" idx="11" hasCustomPrompt="1"/>
          </p:nvPr>
        </p:nvSpPr>
        <p:spPr>
          <a:xfrm>
            <a:off x="4709846" y="3783394"/>
            <a:ext cx="2772308" cy="2880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S/TITRE - RÉFÉRENCE</a:t>
            </a:r>
            <a:endParaRPr lang="fr-FR" dirty="0"/>
          </a:p>
        </p:txBody>
      </p:sp>
      <p:sp>
        <p:nvSpPr>
          <p:cNvPr id="3" name="ZoneTexte 2"/>
          <p:cNvSpPr txBox="1"/>
          <p:nvPr userDrawn="1"/>
        </p:nvSpPr>
        <p:spPr>
          <a:xfrm>
            <a:off x="4709846" y="6570000"/>
            <a:ext cx="2772308" cy="28800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fr-FR" sz="1300" b="1" i="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ww.jaguar-network.com</a:t>
            </a:r>
            <a:endParaRPr lang="fr-FR" sz="1300" b="1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391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/>
          <p:cNvCxnSpPr/>
          <p:nvPr userDrawn="1"/>
        </p:nvCxnSpPr>
        <p:spPr>
          <a:xfrm flipV="1">
            <a:off x="0" y="763929"/>
            <a:ext cx="12192000" cy="775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texte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86521" y="188640"/>
            <a:ext cx="1154697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22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86521" y="979953"/>
            <a:ext cx="5366097" cy="5374023"/>
          </a:xfrm>
        </p:spPr>
        <p:txBody>
          <a:bodyPr numCol="1">
            <a:normAutofit/>
          </a:bodyPr>
          <a:lstStyle>
            <a:lvl1pPr marL="0" indent="0">
              <a:buNone/>
              <a:defRPr sz="900">
                <a:latin typeface="Arial" charset="0"/>
                <a:ea typeface="Arial" charset="0"/>
                <a:cs typeface="Arial" charset="0"/>
              </a:defRPr>
            </a:lvl1pPr>
            <a:lvl2pPr marL="361800">
              <a:defRPr sz="900">
                <a:latin typeface="Arial" charset="0"/>
                <a:ea typeface="Arial" charset="0"/>
                <a:cs typeface="Arial" charset="0"/>
              </a:defRPr>
            </a:lvl2pPr>
            <a:lvl3pPr marL="720000">
              <a:defRPr sz="900">
                <a:latin typeface="Arial" charset="0"/>
                <a:ea typeface="Arial" charset="0"/>
                <a:cs typeface="Arial" charset="0"/>
              </a:defRPr>
            </a:lvl3pPr>
            <a:lvl4pPr marL="1080000">
              <a:defRPr sz="900">
                <a:latin typeface="Arial" charset="0"/>
                <a:ea typeface="Arial" charset="0"/>
                <a:cs typeface="Arial" charset="0"/>
              </a:defRPr>
            </a:lvl4pPr>
            <a:lvl5pPr marL="1440000">
              <a:defRPr sz="9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23" name="Espace réservé du texte 2"/>
          <p:cNvSpPr>
            <a:spLocks noGrp="1"/>
          </p:cNvSpPr>
          <p:nvPr>
            <p:ph type="body" sz="quarter" idx="20"/>
          </p:nvPr>
        </p:nvSpPr>
        <p:spPr>
          <a:xfrm>
            <a:off x="6007261" y="979954"/>
            <a:ext cx="5926237" cy="2636942"/>
          </a:xfrm>
        </p:spPr>
        <p:txBody>
          <a:bodyPr numCol="1">
            <a:normAutofit/>
          </a:bodyPr>
          <a:lstStyle>
            <a:lvl1pPr marL="0" indent="0">
              <a:buNone/>
              <a:defRPr sz="900">
                <a:latin typeface="Arial" charset="0"/>
                <a:ea typeface="Arial" charset="0"/>
                <a:cs typeface="Arial" charset="0"/>
              </a:defRPr>
            </a:lvl1pPr>
            <a:lvl2pPr marL="361800">
              <a:defRPr sz="900">
                <a:latin typeface="Arial" charset="0"/>
                <a:ea typeface="Arial" charset="0"/>
                <a:cs typeface="Arial" charset="0"/>
              </a:defRPr>
            </a:lvl2pPr>
            <a:lvl3pPr marL="720000">
              <a:defRPr sz="900">
                <a:latin typeface="Arial" charset="0"/>
                <a:ea typeface="Arial" charset="0"/>
                <a:cs typeface="Arial" charset="0"/>
              </a:defRPr>
            </a:lvl3pPr>
            <a:lvl4pPr marL="1080000">
              <a:defRPr sz="900">
                <a:latin typeface="Arial" charset="0"/>
                <a:ea typeface="Arial" charset="0"/>
                <a:cs typeface="Arial" charset="0"/>
              </a:defRPr>
            </a:lvl4pPr>
            <a:lvl5pPr marL="1440000">
              <a:defRPr sz="9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sp>
        <p:nvSpPr>
          <p:cNvPr id="24" name="Espace réservé pour une image  3"/>
          <p:cNvSpPr>
            <a:spLocks noGrp="1"/>
          </p:cNvSpPr>
          <p:nvPr>
            <p:ph type="pic" sz="quarter" idx="13" hasCustomPrompt="1"/>
          </p:nvPr>
        </p:nvSpPr>
        <p:spPr>
          <a:xfrm>
            <a:off x="6007261" y="3832920"/>
            <a:ext cx="5926237" cy="2521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0460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  3"/>
          <p:cNvSpPr>
            <a:spLocks noGrp="1"/>
          </p:cNvSpPr>
          <p:nvPr>
            <p:ph type="pic" sz="quarter" idx="13" hasCustomPrompt="1"/>
          </p:nvPr>
        </p:nvSpPr>
        <p:spPr>
          <a:xfrm>
            <a:off x="6007261" y="961513"/>
            <a:ext cx="5926237" cy="5392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cxnSp>
        <p:nvCxnSpPr>
          <p:cNvPr id="25" name="Connecteur droit 24"/>
          <p:cNvCxnSpPr/>
          <p:nvPr userDrawn="1"/>
        </p:nvCxnSpPr>
        <p:spPr>
          <a:xfrm flipV="1">
            <a:off x="0" y="763929"/>
            <a:ext cx="12192000" cy="775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texte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86521" y="188640"/>
            <a:ext cx="1154697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386521" y="979953"/>
            <a:ext cx="5366097" cy="5374023"/>
          </a:xfrm>
        </p:spPr>
        <p:txBody>
          <a:bodyPr numCol="1">
            <a:normAutofit/>
          </a:bodyPr>
          <a:lstStyle>
            <a:lvl1pPr marL="0" indent="0">
              <a:buNone/>
              <a:defRPr sz="900">
                <a:latin typeface="Arial" charset="0"/>
                <a:ea typeface="Arial" charset="0"/>
                <a:cs typeface="Arial" charset="0"/>
              </a:defRPr>
            </a:lvl1pPr>
            <a:lvl2pPr marL="361800">
              <a:defRPr sz="900">
                <a:latin typeface="Arial" charset="0"/>
                <a:ea typeface="Arial" charset="0"/>
                <a:cs typeface="Arial" charset="0"/>
              </a:defRPr>
            </a:lvl2pPr>
            <a:lvl3pPr marL="720000">
              <a:defRPr sz="900">
                <a:latin typeface="Arial" charset="0"/>
                <a:ea typeface="Arial" charset="0"/>
                <a:cs typeface="Arial" charset="0"/>
              </a:defRPr>
            </a:lvl3pPr>
            <a:lvl4pPr marL="1080000">
              <a:defRPr sz="900">
                <a:latin typeface="Arial" charset="0"/>
                <a:ea typeface="Arial" charset="0"/>
                <a:cs typeface="Arial" charset="0"/>
              </a:defRPr>
            </a:lvl4pPr>
            <a:lvl5pPr marL="1440000">
              <a:defRPr sz="90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2968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e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  3"/>
          <p:cNvSpPr>
            <a:spLocks noGrp="1"/>
          </p:cNvSpPr>
          <p:nvPr>
            <p:ph type="pic" sz="quarter" idx="13" hasCustomPrompt="1"/>
          </p:nvPr>
        </p:nvSpPr>
        <p:spPr>
          <a:xfrm>
            <a:off x="386521" y="961513"/>
            <a:ext cx="11546977" cy="5392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>
          <a:xfrm flipV="1">
            <a:off x="0" y="763929"/>
            <a:ext cx="12192000" cy="775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86521" y="188640"/>
            <a:ext cx="1154697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18502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/>
          <p:cNvCxnSpPr/>
          <p:nvPr userDrawn="1"/>
        </p:nvCxnSpPr>
        <p:spPr>
          <a:xfrm flipV="1">
            <a:off x="0" y="763929"/>
            <a:ext cx="12192000" cy="775"/>
          </a:xfrm>
          <a:prstGeom prst="line">
            <a:avLst/>
          </a:prstGeom>
          <a:ln w="3175" cmpd="sng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386521" y="188640"/>
            <a:ext cx="1154697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548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6402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68130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29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2664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ebinar Sécurité – 26 juillet 2017</a:t>
            </a: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5067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ebinar Sécurité – 26 juillet 2017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3265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73216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05658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857DDC-178F-4A7A-B9FB-B1D055F9E018}" type="datetimeFigureOut">
              <a:rPr lang="fr-FR" smtClean="0"/>
              <a:t>29/09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69B6A1-AD32-431C-812D-8F6A6964358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1005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49" r:id="rId14"/>
    <p:sldLayoutId id="2147483651" r:id="rId15"/>
    <p:sldLayoutId id="2147483652" r:id="rId16"/>
    <p:sldLayoutId id="2147483654" r:id="rId17"/>
    <p:sldLayoutId id="2147483656" r:id="rId18"/>
    <p:sldLayoutId id="2147483653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image" Target="../media/image3.jpeg"/><Relationship Id="rId50" Type="http://schemas.openxmlformats.org/officeDocument/2006/relationships/image" Target="../media/image6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image" Target="../media/image5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slideLayout" Target="../slideLayouts/slideLayout1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image" Target="../media/image4.png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image" Target="../media/image2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6520" y="2974611"/>
            <a:ext cx="10625693" cy="497794"/>
          </a:xfrm>
        </p:spPr>
        <p:txBody>
          <a:bodyPr>
            <a:normAutofit/>
          </a:bodyPr>
          <a:lstStyle/>
          <a:p>
            <a:r>
              <a:rPr lang="fr-FR" dirty="0" smtClean="0"/>
              <a:t>RGPD … un nouveau jalon calendaire à ne pas manquer</a:t>
            </a:r>
            <a:endParaRPr lang="fr-FR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591" y="4288410"/>
            <a:ext cx="4424211" cy="182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9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Europe_EU"/>
          <p:cNvGrpSpPr/>
          <p:nvPr/>
        </p:nvGrpSpPr>
        <p:grpSpPr>
          <a:xfrm>
            <a:off x="9032788" y="1493817"/>
            <a:ext cx="4072641" cy="3954415"/>
            <a:chOff x="3089570" y="1022713"/>
            <a:chExt cx="5865551" cy="5585490"/>
          </a:xfrm>
        </p:grpSpPr>
        <p:grpSp>
          <p:nvGrpSpPr>
            <p:cNvPr id="45" name="Group 44"/>
            <p:cNvGrpSpPr/>
            <p:nvPr/>
          </p:nvGrpSpPr>
          <p:grpSpPr>
            <a:xfrm>
              <a:off x="3578793" y="1022713"/>
              <a:ext cx="5376328" cy="5240598"/>
              <a:chOff x="3578793" y="1022713"/>
              <a:chExt cx="5376328" cy="5240598"/>
            </a:xfrm>
          </p:grpSpPr>
          <p:sp>
            <p:nvSpPr>
              <p:cNvPr id="124" name="Freeform 18"/>
              <p:cNvSpPr>
                <a:spLocks/>
              </p:cNvSpPr>
              <p:nvPr/>
            </p:nvSpPr>
            <p:spPr bwMode="auto">
              <a:xfrm rot="21240000">
                <a:off x="4765446" y="1924775"/>
                <a:ext cx="1489086" cy="1623023"/>
              </a:xfrm>
              <a:custGeom>
                <a:avLst/>
                <a:gdLst>
                  <a:gd name="T0" fmla="*/ 903 w 945"/>
                  <a:gd name="T1" fmla="*/ 44 h 1030"/>
                  <a:gd name="T2" fmla="*/ 863 w 945"/>
                  <a:gd name="T3" fmla="*/ 2 h 1030"/>
                  <a:gd name="T4" fmla="*/ 664 w 945"/>
                  <a:gd name="T5" fmla="*/ 25 h 1030"/>
                  <a:gd name="T6" fmla="*/ 627 w 945"/>
                  <a:gd name="T7" fmla="*/ 2 h 1030"/>
                  <a:gd name="T8" fmla="*/ 619 w 945"/>
                  <a:gd name="T9" fmla="*/ 52 h 1030"/>
                  <a:gd name="T10" fmla="*/ 573 w 945"/>
                  <a:gd name="T11" fmla="*/ 38 h 1030"/>
                  <a:gd name="T12" fmla="*/ 550 w 945"/>
                  <a:gd name="T13" fmla="*/ 32 h 1030"/>
                  <a:gd name="T14" fmla="*/ 527 w 945"/>
                  <a:gd name="T15" fmla="*/ 102 h 1030"/>
                  <a:gd name="T16" fmla="*/ 483 w 945"/>
                  <a:gd name="T17" fmla="*/ 91 h 1030"/>
                  <a:gd name="T18" fmla="*/ 465 w 945"/>
                  <a:gd name="T19" fmla="*/ 133 h 1030"/>
                  <a:gd name="T20" fmla="*/ 425 w 945"/>
                  <a:gd name="T21" fmla="*/ 167 h 1030"/>
                  <a:gd name="T22" fmla="*/ 438 w 945"/>
                  <a:gd name="T23" fmla="*/ 188 h 1030"/>
                  <a:gd name="T24" fmla="*/ 405 w 945"/>
                  <a:gd name="T25" fmla="*/ 232 h 1030"/>
                  <a:gd name="T26" fmla="*/ 382 w 945"/>
                  <a:gd name="T27" fmla="*/ 247 h 1030"/>
                  <a:gd name="T28" fmla="*/ 364 w 945"/>
                  <a:gd name="T29" fmla="*/ 264 h 1030"/>
                  <a:gd name="T30" fmla="*/ 322 w 945"/>
                  <a:gd name="T31" fmla="*/ 319 h 1030"/>
                  <a:gd name="T32" fmla="*/ 298 w 945"/>
                  <a:gd name="T33" fmla="*/ 363 h 1030"/>
                  <a:gd name="T34" fmla="*/ 280 w 945"/>
                  <a:gd name="T35" fmla="*/ 413 h 1030"/>
                  <a:gd name="T36" fmla="*/ 273 w 945"/>
                  <a:gd name="T37" fmla="*/ 440 h 1030"/>
                  <a:gd name="T38" fmla="*/ 268 w 945"/>
                  <a:gd name="T39" fmla="*/ 465 h 1030"/>
                  <a:gd name="T40" fmla="*/ 231 w 945"/>
                  <a:gd name="T41" fmla="*/ 515 h 1030"/>
                  <a:gd name="T42" fmla="*/ 202 w 945"/>
                  <a:gd name="T43" fmla="*/ 549 h 1030"/>
                  <a:gd name="T44" fmla="*/ 213 w 945"/>
                  <a:gd name="T45" fmla="*/ 600 h 1030"/>
                  <a:gd name="T46" fmla="*/ 188 w 945"/>
                  <a:gd name="T47" fmla="*/ 625 h 1030"/>
                  <a:gd name="T48" fmla="*/ 162 w 945"/>
                  <a:gd name="T49" fmla="*/ 629 h 1030"/>
                  <a:gd name="T50" fmla="*/ 116 w 945"/>
                  <a:gd name="T51" fmla="*/ 639 h 1030"/>
                  <a:gd name="T52" fmla="*/ 78 w 945"/>
                  <a:gd name="T53" fmla="*/ 678 h 1030"/>
                  <a:gd name="T54" fmla="*/ 54 w 945"/>
                  <a:gd name="T55" fmla="*/ 695 h 1030"/>
                  <a:gd name="T56" fmla="*/ 50 w 945"/>
                  <a:gd name="T57" fmla="*/ 713 h 1030"/>
                  <a:gd name="T58" fmla="*/ 6 w 945"/>
                  <a:gd name="T59" fmla="*/ 731 h 1030"/>
                  <a:gd name="T60" fmla="*/ 24 w 945"/>
                  <a:gd name="T61" fmla="*/ 755 h 1030"/>
                  <a:gd name="T62" fmla="*/ 5 w 945"/>
                  <a:gd name="T63" fmla="*/ 792 h 1030"/>
                  <a:gd name="T64" fmla="*/ 58 w 945"/>
                  <a:gd name="T65" fmla="*/ 803 h 1030"/>
                  <a:gd name="T66" fmla="*/ 97 w 945"/>
                  <a:gd name="T67" fmla="*/ 798 h 1030"/>
                  <a:gd name="T68" fmla="*/ 26 w 945"/>
                  <a:gd name="T69" fmla="*/ 811 h 1030"/>
                  <a:gd name="T70" fmla="*/ 7 w 945"/>
                  <a:gd name="T71" fmla="*/ 847 h 1030"/>
                  <a:gd name="T72" fmla="*/ 21 w 945"/>
                  <a:gd name="T73" fmla="*/ 870 h 1030"/>
                  <a:gd name="T74" fmla="*/ 55 w 945"/>
                  <a:gd name="T75" fmla="*/ 845 h 1030"/>
                  <a:gd name="T76" fmla="*/ 47 w 945"/>
                  <a:gd name="T77" fmla="*/ 880 h 1030"/>
                  <a:gd name="T78" fmla="*/ 12 w 945"/>
                  <a:gd name="T79" fmla="*/ 923 h 1030"/>
                  <a:gd name="T80" fmla="*/ 45 w 945"/>
                  <a:gd name="T81" fmla="*/ 924 h 1030"/>
                  <a:gd name="T82" fmla="*/ 22 w 945"/>
                  <a:gd name="T83" fmla="*/ 962 h 1030"/>
                  <a:gd name="T84" fmla="*/ 78 w 945"/>
                  <a:gd name="T85" fmla="*/ 1026 h 1030"/>
                  <a:gd name="T86" fmla="*/ 165 w 945"/>
                  <a:gd name="T87" fmla="*/ 956 h 1030"/>
                  <a:gd name="T88" fmla="*/ 192 w 945"/>
                  <a:gd name="T89" fmla="*/ 914 h 1030"/>
                  <a:gd name="T90" fmla="*/ 201 w 945"/>
                  <a:gd name="T91" fmla="*/ 912 h 1030"/>
                  <a:gd name="T92" fmla="*/ 242 w 945"/>
                  <a:gd name="T93" fmla="*/ 940 h 1030"/>
                  <a:gd name="T94" fmla="*/ 270 w 945"/>
                  <a:gd name="T95" fmla="*/ 810 h 1030"/>
                  <a:gd name="T96" fmla="*/ 259 w 945"/>
                  <a:gd name="T97" fmla="*/ 669 h 1030"/>
                  <a:gd name="T98" fmla="*/ 331 w 945"/>
                  <a:gd name="T99" fmla="*/ 570 h 1030"/>
                  <a:gd name="T100" fmla="*/ 360 w 945"/>
                  <a:gd name="T101" fmla="*/ 399 h 1030"/>
                  <a:gd name="T102" fmla="*/ 417 w 945"/>
                  <a:gd name="T103" fmla="*/ 262 h 1030"/>
                  <a:gd name="T104" fmla="*/ 478 w 945"/>
                  <a:gd name="T105" fmla="*/ 180 h 1030"/>
                  <a:gd name="T106" fmla="*/ 554 w 945"/>
                  <a:gd name="T107" fmla="*/ 136 h 1030"/>
                  <a:gd name="T108" fmla="*/ 602 w 945"/>
                  <a:gd name="T109" fmla="*/ 94 h 1030"/>
                  <a:gd name="T110" fmla="*/ 714 w 945"/>
                  <a:gd name="T111" fmla="*/ 157 h 1030"/>
                  <a:gd name="T112" fmla="*/ 824 w 945"/>
                  <a:gd name="T113" fmla="*/ 17 h 1030"/>
                  <a:gd name="T114" fmla="*/ 880 w 945"/>
                  <a:gd name="T115" fmla="*/ 117 h 1030"/>
                  <a:gd name="T116" fmla="*/ 943 w 945"/>
                  <a:gd name="T117" fmla="*/ 45 h 10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5" h="1030">
                    <a:moveTo>
                      <a:pt x="928" y="42"/>
                    </a:moveTo>
                    <a:lnTo>
                      <a:pt x="927" y="56"/>
                    </a:lnTo>
                    <a:lnTo>
                      <a:pt x="923" y="56"/>
                    </a:lnTo>
                    <a:lnTo>
                      <a:pt x="923" y="54"/>
                    </a:lnTo>
                    <a:lnTo>
                      <a:pt x="917" y="52"/>
                    </a:lnTo>
                    <a:lnTo>
                      <a:pt x="915" y="48"/>
                    </a:lnTo>
                    <a:lnTo>
                      <a:pt x="915" y="56"/>
                    </a:lnTo>
                    <a:lnTo>
                      <a:pt x="914" y="57"/>
                    </a:lnTo>
                    <a:lnTo>
                      <a:pt x="910" y="51"/>
                    </a:lnTo>
                    <a:lnTo>
                      <a:pt x="902" y="52"/>
                    </a:lnTo>
                    <a:lnTo>
                      <a:pt x="895" y="56"/>
                    </a:lnTo>
                    <a:lnTo>
                      <a:pt x="897" y="49"/>
                    </a:lnTo>
                    <a:lnTo>
                      <a:pt x="903" y="44"/>
                    </a:lnTo>
                    <a:lnTo>
                      <a:pt x="907" y="43"/>
                    </a:lnTo>
                    <a:lnTo>
                      <a:pt x="909" y="39"/>
                    </a:lnTo>
                    <a:lnTo>
                      <a:pt x="908" y="35"/>
                    </a:lnTo>
                    <a:lnTo>
                      <a:pt x="905" y="31"/>
                    </a:lnTo>
                    <a:lnTo>
                      <a:pt x="891" y="32"/>
                    </a:lnTo>
                    <a:lnTo>
                      <a:pt x="894" y="28"/>
                    </a:lnTo>
                    <a:lnTo>
                      <a:pt x="889" y="25"/>
                    </a:lnTo>
                    <a:lnTo>
                      <a:pt x="881" y="20"/>
                    </a:lnTo>
                    <a:lnTo>
                      <a:pt x="874" y="12"/>
                    </a:lnTo>
                    <a:lnTo>
                      <a:pt x="864" y="10"/>
                    </a:lnTo>
                    <a:lnTo>
                      <a:pt x="862" y="7"/>
                    </a:lnTo>
                    <a:lnTo>
                      <a:pt x="863" y="4"/>
                    </a:lnTo>
                    <a:lnTo>
                      <a:pt x="863" y="2"/>
                    </a:lnTo>
                    <a:lnTo>
                      <a:pt x="878" y="7"/>
                    </a:lnTo>
                    <a:lnTo>
                      <a:pt x="911" y="12"/>
                    </a:lnTo>
                    <a:lnTo>
                      <a:pt x="926" y="0"/>
                    </a:lnTo>
                    <a:lnTo>
                      <a:pt x="740" y="0"/>
                    </a:lnTo>
                    <a:lnTo>
                      <a:pt x="731" y="14"/>
                    </a:lnTo>
                    <a:lnTo>
                      <a:pt x="726" y="17"/>
                    </a:lnTo>
                    <a:lnTo>
                      <a:pt x="726" y="8"/>
                    </a:lnTo>
                    <a:lnTo>
                      <a:pt x="726" y="0"/>
                    </a:lnTo>
                    <a:lnTo>
                      <a:pt x="665" y="0"/>
                    </a:lnTo>
                    <a:lnTo>
                      <a:pt x="665" y="3"/>
                    </a:lnTo>
                    <a:lnTo>
                      <a:pt x="667" y="7"/>
                    </a:lnTo>
                    <a:lnTo>
                      <a:pt x="665" y="15"/>
                    </a:lnTo>
                    <a:lnTo>
                      <a:pt x="664" y="25"/>
                    </a:lnTo>
                    <a:lnTo>
                      <a:pt x="659" y="25"/>
                    </a:lnTo>
                    <a:lnTo>
                      <a:pt x="656" y="21"/>
                    </a:lnTo>
                    <a:lnTo>
                      <a:pt x="656" y="15"/>
                    </a:lnTo>
                    <a:lnTo>
                      <a:pt x="659" y="12"/>
                    </a:lnTo>
                    <a:lnTo>
                      <a:pt x="650" y="10"/>
                    </a:lnTo>
                    <a:lnTo>
                      <a:pt x="655" y="3"/>
                    </a:lnTo>
                    <a:lnTo>
                      <a:pt x="653" y="2"/>
                    </a:lnTo>
                    <a:lnTo>
                      <a:pt x="646" y="0"/>
                    </a:lnTo>
                    <a:lnTo>
                      <a:pt x="634" y="0"/>
                    </a:lnTo>
                    <a:lnTo>
                      <a:pt x="636" y="7"/>
                    </a:lnTo>
                    <a:lnTo>
                      <a:pt x="633" y="8"/>
                    </a:lnTo>
                    <a:lnTo>
                      <a:pt x="627" y="7"/>
                    </a:lnTo>
                    <a:lnTo>
                      <a:pt x="627" y="2"/>
                    </a:lnTo>
                    <a:lnTo>
                      <a:pt x="627" y="0"/>
                    </a:lnTo>
                    <a:lnTo>
                      <a:pt x="613" y="0"/>
                    </a:lnTo>
                    <a:lnTo>
                      <a:pt x="612" y="6"/>
                    </a:lnTo>
                    <a:lnTo>
                      <a:pt x="610" y="0"/>
                    </a:lnTo>
                    <a:lnTo>
                      <a:pt x="603" y="0"/>
                    </a:lnTo>
                    <a:lnTo>
                      <a:pt x="603" y="7"/>
                    </a:lnTo>
                    <a:lnTo>
                      <a:pt x="614" y="14"/>
                    </a:lnTo>
                    <a:lnTo>
                      <a:pt x="618" y="14"/>
                    </a:lnTo>
                    <a:lnTo>
                      <a:pt x="618" y="21"/>
                    </a:lnTo>
                    <a:lnTo>
                      <a:pt x="617" y="28"/>
                    </a:lnTo>
                    <a:lnTo>
                      <a:pt x="617" y="34"/>
                    </a:lnTo>
                    <a:lnTo>
                      <a:pt x="619" y="42"/>
                    </a:lnTo>
                    <a:lnTo>
                      <a:pt x="619" y="52"/>
                    </a:lnTo>
                    <a:lnTo>
                      <a:pt x="615" y="48"/>
                    </a:lnTo>
                    <a:lnTo>
                      <a:pt x="603" y="29"/>
                    </a:lnTo>
                    <a:lnTo>
                      <a:pt x="593" y="19"/>
                    </a:lnTo>
                    <a:lnTo>
                      <a:pt x="595" y="32"/>
                    </a:lnTo>
                    <a:lnTo>
                      <a:pt x="591" y="31"/>
                    </a:lnTo>
                    <a:lnTo>
                      <a:pt x="590" y="39"/>
                    </a:lnTo>
                    <a:lnTo>
                      <a:pt x="586" y="38"/>
                    </a:lnTo>
                    <a:lnTo>
                      <a:pt x="583" y="43"/>
                    </a:lnTo>
                    <a:lnTo>
                      <a:pt x="581" y="41"/>
                    </a:lnTo>
                    <a:lnTo>
                      <a:pt x="581" y="37"/>
                    </a:lnTo>
                    <a:lnTo>
                      <a:pt x="583" y="29"/>
                    </a:lnTo>
                    <a:lnTo>
                      <a:pt x="578" y="32"/>
                    </a:lnTo>
                    <a:lnTo>
                      <a:pt x="573" y="38"/>
                    </a:lnTo>
                    <a:lnTo>
                      <a:pt x="571" y="46"/>
                    </a:lnTo>
                    <a:lnTo>
                      <a:pt x="567" y="48"/>
                    </a:lnTo>
                    <a:lnTo>
                      <a:pt x="569" y="58"/>
                    </a:lnTo>
                    <a:lnTo>
                      <a:pt x="570" y="63"/>
                    </a:lnTo>
                    <a:lnTo>
                      <a:pt x="559" y="72"/>
                    </a:lnTo>
                    <a:lnTo>
                      <a:pt x="555" y="85"/>
                    </a:lnTo>
                    <a:lnTo>
                      <a:pt x="549" y="91"/>
                    </a:lnTo>
                    <a:lnTo>
                      <a:pt x="557" y="77"/>
                    </a:lnTo>
                    <a:lnTo>
                      <a:pt x="558" y="69"/>
                    </a:lnTo>
                    <a:lnTo>
                      <a:pt x="558" y="54"/>
                    </a:lnTo>
                    <a:lnTo>
                      <a:pt x="559" y="42"/>
                    </a:lnTo>
                    <a:lnTo>
                      <a:pt x="558" y="29"/>
                    </a:lnTo>
                    <a:lnTo>
                      <a:pt x="550" y="32"/>
                    </a:lnTo>
                    <a:lnTo>
                      <a:pt x="546" y="41"/>
                    </a:lnTo>
                    <a:lnTo>
                      <a:pt x="540" y="50"/>
                    </a:lnTo>
                    <a:lnTo>
                      <a:pt x="537" y="66"/>
                    </a:lnTo>
                    <a:lnTo>
                      <a:pt x="534" y="79"/>
                    </a:lnTo>
                    <a:lnTo>
                      <a:pt x="534" y="44"/>
                    </a:lnTo>
                    <a:lnTo>
                      <a:pt x="516" y="46"/>
                    </a:lnTo>
                    <a:lnTo>
                      <a:pt x="511" y="58"/>
                    </a:lnTo>
                    <a:lnTo>
                      <a:pt x="510" y="62"/>
                    </a:lnTo>
                    <a:lnTo>
                      <a:pt x="512" y="75"/>
                    </a:lnTo>
                    <a:lnTo>
                      <a:pt x="517" y="85"/>
                    </a:lnTo>
                    <a:lnTo>
                      <a:pt x="524" y="87"/>
                    </a:lnTo>
                    <a:lnTo>
                      <a:pt x="528" y="96"/>
                    </a:lnTo>
                    <a:lnTo>
                      <a:pt x="527" y="102"/>
                    </a:lnTo>
                    <a:lnTo>
                      <a:pt x="522" y="101"/>
                    </a:lnTo>
                    <a:lnTo>
                      <a:pt x="517" y="91"/>
                    </a:lnTo>
                    <a:lnTo>
                      <a:pt x="511" y="86"/>
                    </a:lnTo>
                    <a:lnTo>
                      <a:pt x="504" y="76"/>
                    </a:lnTo>
                    <a:lnTo>
                      <a:pt x="500" y="69"/>
                    </a:lnTo>
                    <a:lnTo>
                      <a:pt x="491" y="72"/>
                    </a:lnTo>
                    <a:lnTo>
                      <a:pt x="495" y="83"/>
                    </a:lnTo>
                    <a:lnTo>
                      <a:pt x="504" y="91"/>
                    </a:lnTo>
                    <a:lnTo>
                      <a:pt x="499" y="97"/>
                    </a:lnTo>
                    <a:lnTo>
                      <a:pt x="493" y="92"/>
                    </a:lnTo>
                    <a:lnTo>
                      <a:pt x="490" y="97"/>
                    </a:lnTo>
                    <a:lnTo>
                      <a:pt x="489" y="88"/>
                    </a:lnTo>
                    <a:lnTo>
                      <a:pt x="483" y="91"/>
                    </a:lnTo>
                    <a:lnTo>
                      <a:pt x="483" y="88"/>
                    </a:lnTo>
                    <a:lnTo>
                      <a:pt x="484" y="79"/>
                    </a:lnTo>
                    <a:lnTo>
                      <a:pt x="481" y="75"/>
                    </a:lnTo>
                    <a:lnTo>
                      <a:pt x="479" y="79"/>
                    </a:lnTo>
                    <a:lnTo>
                      <a:pt x="474" y="95"/>
                    </a:lnTo>
                    <a:lnTo>
                      <a:pt x="476" y="101"/>
                    </a:lnTo>
                    <a:lnTo>
                      <a:pt x="479" y="106"/>
                    </a:lnTo>
                    <a:lnTo>
                      <a:pt x="464" y="114"/>
                    </a:lnTo>
                    <a:lnTo>
                      <a:pt x="459" y="118"/>
                    </a:lnTo>
                    <a:lnTo>
                      <a:pt x="458" y="123"/>
                    </a:lnTo>
                    <a:lnTo>
                      <a:pt x="457" y="130"/>
                    </a:lnTo>
                    <a:lnTo>
                      <a:pt x="458" y="135"/>
                    </a:lnTo>
                    <a:lnTo>
                      <a:pt x="465" y="133"/>
                    </a:lnTo>
                    <a:lnTo>
                      <a:pt x="468" y="138"/>
                    </a:lnTo>
                    <a:lnTo>
                      <a:pt x="460" y="138"/>
                    </a:lnTo>
                    <a:lnTo>
                      <a:pt x="462" y="145"/>
                    </a:lnTo>
                    <a:lnTo>
                      <a:pt x="462" y="149"/>
                    </a:lnTo>
                    <a:lnTo>
                      <a:pt x="455" y="146"/>
                    </a:lnTo>
                    <a:lnTo>
                      <a:pt x="451" y="147"/>
                    </a:lnTo>
                    <a:lnTo>
                      <a:pt x="456" y="153"/>
                    </a:lnTo>
                    <a:lnTo>
                      <a:pt x="453" y="157"/>
                    </a:lnTo>
                    <a:lnTo>
                      <a:pt x="445" y="154"/>
                    </a:lnTo>
                    <a:lnTo>
                      <a:pt x="444" y="158"/>
                    </a:lnTo>
                    <a:lnTo>
                      <a:pt x="438" y="157"/>
                    </a:lnTo>
                    <a:lnTo>
                      <a:pt x="427" y="161"/>
                    </a:lnTo>
                    <a:lnTo>
                      <a:pt x="425" y="167"/>
                    </a:lnTo>
                    <a:lnTo>
                      <a:pt x="421" y="169"/>
                    </a:lnTo>
                    <a:lnTo>
                      <a:pt x="420" y="172"/>
                    </a:lnTo>
                    <a:lnTo>
                      <a:pt x="426" y="177"/>
                    </a:lnTo>
                    <a:lnTo>
                      <a:pt x="433" y="175"/>
                    </a:lnTo>
                    <a:lnTo>
                      <a:pt x="436" y="170"/>
                    </a:lnTo>
                    <a:lnTo>
                      <a:pt x="447" y="177"/>
                    </a:lnTo>
                    <a:lnTo>
                      <a:pt x="455" y="171"/>
                    </a:lnTo>
                    <a:lnTo>
                      <a:pt x="457" y="173"/>
                    </a:lnTo>
                    <a:lnTo>
                      <a:pt x="459" y="179"/>
                    </a:lnTo>
                    <a:lnTo>
                      <a:pt x="453" y="179"/>
                    </a:lnTo>
                    <a:lnTo>
                      <a:pt x="449" y="184"/>
                    </a:lnTo>
                    <a:lnTo>
                      <a:pt x="448" y="193"/>
                    </a:lnTo>
                    <a:lnTo>
                      <a:pt x="438" y="188"/>
                    </a:lnTo>
                    <a:lnTo>
                      <a:pt x="431" y="188"/>
                    </a:lnTo>
                    <a:lnTo>
                      <a:pt x="429" y="183"/>
                    </a:lnTo>
                    <a:lnTo>
                      <a:pt x="421" y="181"/>
                    </a:lnTo>
                    <a:lnTo>
                      <a:pt x="412" y="188"/>
                    </a:lnTo>
                    <a:lnTo>
                      <a:pt x="410" y="192"/>
                    </a:lnTo>
                    <a:lnTo>
                      <a:pt x="415" y="203"/>
                    </a:lnTo>
                    <a:lnTo>
                      <a:pt x="416" y="209"/>
                    </a:lnTo>
                    <a:lnTo>
                      <a:pt x="412" y="209"/>
                    </a:lnTo>
                    <a:lnTo>
                      <a:pt x="415" y="217"/>
                    </a:lnTo>
                    <a:lnTo>
                      <a:pt x="415" y="225"/>
                    </a:lnTo>
                    <a:lnTo>
                      <a:pt x="411" y="223"/>
                    </a:lnTo>
                    <a:lnTo>
                      <a:pt x="411" y="230"/>
                    </a:lnTo>
                    <a:lnTo>
                      <a:pt x="405" y="232"/>
                    </a:lnTo>
                    <a:lnTo>
                      <a:pt x="402" y="206"/>
                    </a:lnTo>
                    <a:lnTo>
                      <a:pt x="397" y="207"/>
                    </a:lnTo>
                    <a:lnTo>
                      <a:pt x="394" y="216"/>
                    </a:lnTo>
                    <a:lnTo>
                      <a:pt x="390" y="214"/>
                    </a:lnTo>
                    <a:lnTo>
                      <a:pt x="388" y="217"/>
                    </a:lnTo>
                    <a:lnTo>
                      <a:pt x="394" y="221"/>
                    </a:lnTo>
                    <a:lnTo>
                      <a:pt x="393" y="223"/>
                    </a:lnTo>
                    <a:lnTo>
                      <a:pt x="388" y="224"/>
                    </a:lnTo>
                    <a:lnTo>
                      <a:pt x="382" y="227"/>
                    </a:lnTo>
                    <a:lnTo>
                      <a:pt x="381" y="234"/>
                    </a:lnTo>
                    <a:lnTo>
                      <a:pt x="381" y="240"/>
                    </a:lnTo>
                    <a:lnTo>
                      <a:pt x="388" y="245"/>
                    </a:lnTo>
                    <a:lnTo>
                      <a:pt x="382" y="247"/>
                    </a:lnTo>
                    <a:lnTo>
                      <a:pt x="386" y="250"/>
                    </a:lnTo>
                    <a:lnTo>
                      <a:pt x="382" y="252"/>
                    </a:lnTo>
                    <a:lnTo>
                      <a:pt x="379" y="260"/>
                    </a:lnTo>
                    <a:lnTo>
                      <a:pt x="377" y="262"/>
                    </a:lnTo>
                    <a:lnTo>
                      <a:pt x="372" y="261"/>
                    </a:lnTo>
                    <a:lnTo>
                      <a:pt x="374" y="264"/>
                    </a:lnTo>
                    <a:lnTo>
                      <a:pt x="380" y="267"/>
                    </a:lnTo>
                    <a:lnTo>
                      <a:pt x="393" y="262"/>
                    </a:lnTo>
                    <a:lnTo>
                      <a:pt x="384" y="272"/>
                    </a:lnTo>
                    <a:lnTo>
                      <a:pt x="380" y="275"/>
                    </a:lnTo>
                    <a:lnTo>
                      <a:pt x="368" y="272"/>
                    </a:lnTo>
                    <a:lnTo>
                      <a:pt x="365" y="269"/>
                    </a:lnTo>
                    <a:lnTo>
                      <a:pt x="364" y="264"/>
                    </a:lnTo>
                    <a:lnTo>
                      <a:pt x="359" y="265"/>
                    </a:lnTo>
                    <a:lnTo>
                      <a:pt x="352" y="272"/>
                    </a:lnTo>
                    <a:lnTo>
                      <a:pt x="348" y="283"/>
                    </a:lnTo>
                    <a:lnTo>
                      <a:pt x="342" y="288"/>
                    </a:lnTo>
                    <a:lnTo>
                      <a:pt x="342" y="294"/>
                    </a:lnTo>
                    <a:lnTo>
                      <a:pt x="346" y="294"/>
                    </a:lnTo>
                    <a:lnTo>
                      <a:pt x="345" y="299"/>
                    </a:lnTo>
                    <a:lnTo>
                      <a:pt x="344" y="303"/>
                    </a:lnTo>
                    <a:lnTo>
                      <a:pt x="338" y="305"/>
                    </a:lnTo>
                    <a:lnTo>
                      <a:pt x="335" y="317"/>
                    </a:lnTo>
                    <a:lnTo>
                      <a:pt x="331" y="316"/>
                    </a:lnTo>
                    <a:lnTo>
                      <a:pt x="326" y="318"/>
                    </a:lnTo>
                    <a:lnTo>
                      <a:pt x="322" y="319"/>
                    </a:lnTo>
                    <a:lnTo>
                      <a:pt x="316" y="327"/>
                    </a:lnTo>
                    <a:lnTo>
                      <a:pt x="321" y="333"/>
                    </a:lnTo>
                    <a:lnTo>
                      <a:pt x="319" y="337"/>
                    </a:lnTo>
                    <a:lnTo>
                      <a:pt x="311" y="338"/>
                    </a:lnTo>
                    <a:lnTo>
                      <a:pt x="311" y="343"/>
                    </a:lnTo>
                    <a:lnTo>
                      <a:pt x="303" y="344"/>
                    </a:lnTo>
                    <a:lnTo>
                      <a:pt x="305" y="349"/>
                    </a:lnTo>
                    <a:lnTo>
                      <a:pt x="302" y="351"/>
                    </a:lnTo>
                    <a:lnTo>
                      <a:pt x="301" y="356"/>
                    </a:lnTo>
                    <a:lnTo>
                      <a:pt x="310" y="359"/>
                    </a:lnTo>
                    <a:lnTo>
                      <a:pt x="308" y="363"/>
                    </a:lnTo>
                    <a:lnTo>
                      <a:pt x="302" y="366"/>
                    </a:lnTo>
                    <a:lnTo>
                      <a:pt x="298" y="363"/>
                    </a:lnTo>
                    <a:lnTo>
                      <a:pt x="298" y="364"/>
                    </a:lnTo>
                    <a:lnTo>
                      <a:pt x="298" y="374"/>
                    </a:lnTo>
                    <a:lnTo>
                      <a:pt x="302" y="379"/>
                    </a:lnTo>
                    <a:lnTo>
                      <a:pt x="305" y="375"/>
                    </a:lnTo>
                    <a:lnTo>
                      <a:pt x="308" y="377"/>
                    </a:lnTo>
                    <a:lnTo>
                      <a:pt x="307" y="384"/>
                    </a:lnTo>
                    <a:lnTo>
                      <a:pt x="293" y="386"/>
                    </a:lnTo>
                    <a:lnTo>
                      <a:pt x="290" y="388"/>
                    </a:lnTo>
                    <a:lnTo>
                      <a:pt x="289" y="398"/>
                    </a:lnTo>
                    <a:lnTo>
                      <a:pt x="283" y="402"/>
                    </a:lnTo>
                    <a:lnTo>
                      <a:pt x="278" y="405"/>
                    </a:lnTo>
                    <a:lnTo>
                      <a:pt x="275" y="413"/>
                    </a:lnTo>
                    <a:lnTo>
                      <a:pt x="280" y="413"/>
                    </a:lnTo>
                    <a:lnTo>
                      <a:pt x="286" y="407"/>
                    </a:lnTo>
                    <a:lnTo>
                      <a:pt x="292" y="405"/>
                    </a:lnTo>
                    <a:lnTo>
                      <a:pt x="292" y="410"/>
                    </a:lnTo>
                    <a:lnTo>
                      <a:pt x="297" y="419"/>
                    </a:lnTo>
                    <a:lnTo>
                      <a:pt x="283" y="414"/>
                    </a:lnTo>
                    <a:lnTo>
                      <a:pt x="282" y="421"/>
                    </a:lnTo>
                    <a:lnTo>
                      <a:pt x="286" y="423"/>
                    </a:lnTo>
                    <a:lnTo>
                      <a:pt x="281" y="426"/>
                    </a:lnTo>
                    <a:lnTo>
                      <a:pt x="279" y="431"/>
                    </a:lnTo>
                    <a:lnTo>
                      <a:pt x="281" y="436"/>
                    </a:lnTo>
                    <a:lnTo>
                      <a:pt x="279" y="437"/>
                    </a:lnTo>
                    <a:lnTo>
                      <a:pt x="275" y="435"/>
                    </a:lnTo>
                    <a:lnTo>
                      <a:pt x="273" y="440"/>
                    </a:lnTo>
                    <a:lnTo>
                      <a:pt x="274" y="446"/>
                    </a:lnTo>
                    <a:lnTo>
                      <a:pt x="278" y="449"/>
                    </a:lnTo>
                    <a:lnTo>
                      <a:pt x="279" y="463"/>
                    </a:lnTo>
                    <a:lnTo>
                      <a:pt x="275" y="457"/>
                    </a:lnTo>
                    <a:lnTo>
                      <a:pt x="270" y="455"/>
                    </a:lnTo>
                    <a:lnTo>
                      <a:pt x="266" y="447"/>
                    </a:lnTo>
                    <a:lnTo>
                      <a:pt x="267" y="458"/>
                    </a:lnTo>
                    <a:lnTo>
                      <a:pt x="265" y="462"/>
                    </a:lnTo>
                    <a:lnTo>
                      <a:pt x="260" y="464"/>
                    </a:lnTo>
                    <a:lnTo>
                      <a:pt x="258" y="470"/>
                    </a:lnTo>
                    <a:lnTo>
                      <a:pt x="262" y="472"/>
                    </a:lnTo>
                    <a:lnTo>
                      <a:pt x="265" y="470"/>
                    </a:lnTo>
                    <a:lnTo>
                      <a:pt x="268" y="465"/>
                    </a:lnTo>
                    <a:lnTo>
                      <a:pt x="269" y="467"/>
                    </a:lnTo>
                    <a:lnTo>
                      <a:pt x="268" y="470"/>
                    </a:lnTo>
                    <a:lnTo>
                      <a:pt x="268" y="475"/>
                    </a:lnTo>
                    <a:lnTo>
                      <a:pt x="269" y="479"/>
                    </a:lnTo>
                    <a:lnTo>
                      <a:pt x="265" y="483"/>
                    </a:lnTo>
                    <a:lnTo>
                      <a:pt x="258" y="480"/>
                    </a:lnTo>
                    <a:lnTo>
                      <a:pt x="254" y="486"/>
                    </a:lnTo>
                    <a:lnTo>
                      <a:pt x="249" y="483"/>
                    </a:lnTo>
                    <a:lnTo>
                      <a:pt x="245" y="490"/>
                    </a:lnTo>
                    <a:lnTo>
                      <a:pt x="244" y="495"/>
                    </a:lnTo>
                    <a:lnTo>
                      <a:pt x="240" y="500"/>
                    </a:lnTo>
                    <a:lnTo>
                      <a:pt x="234" y="502"/>
                    </a:lnTo>
                    <a:lnTo>
                      <a:pt x="231" y="515"/>
                    </a:lnTo>
                    <a:lnTo>
                      <a:pt x="237" y="513"/>
                    </a:lnTo>
                    <a:lnTo>
                      <a:pt x="244" y="510"/>
                    </a:lnTo>
                    <a:lnTo>
                      <a:pt x="246" y="512"/>
                    </a:lnTo>
                    <a:lnTo>
                      <a:pt x="235" y="516"/>
                    </a:lnTo>
                    <a:lnTo>
                      <a:pt x="235" y="524"/>
                    </a:lnTo>
                    <a:lnTo>
                      <a:pt x="236" y="531"/>
                    </a:lnTo>
                    <a:lnTo>
                      <a:pt x="234" y="535"/>
                    </a:lnTo>
                    <a:lnTo>
                      <a:pt x="226" y="537"/>
                    </a:lnTo>
                    <a:lnTo>
                      <a:pt x="218" y="529"/>
                    </a:lnTo>
                    <a:lnTo>
                      <a:pt x="215" y="529"/>
                    </a:lnTo>
                    <a:lnTo>
                      <a:pt x="210" y="539"/>
                    </a:lnTo>
                    <a:lnTo>
                      <a:pt x="203" y="545"/>
                    </a:lnTo>
                    <a:lnTo>
                      <a:pt x="202" y="549"/>
                    </a:lnTo>
                    <a:lnTo>
                      <a:pt x="198" y="552"/>
                    </a:lnTo>
                    <a:lnTo>
                      <a:pt x="187" y="569"/>
                    </a:lnTo>
                    <a:lnTo>
                      <a:pt x="185" y="573"/>
                    </a:lnTo>
                    <a:lnTo>
                      <a:pt x="187" y="580"/>
                    </a:lnTo>
                    <a:lnTo>
                      <a:pt x="187" y="582"/>
                    </a:lnTo>
                    <a:lnTo>
                      <a:pt x="173" y="591"/>
                    </a:lnTo>
                    <a:lnTo>
                      <a:pt x="172" y="597"/>
                    </a:lnTo>
                    <a:lnTo>
                      <a:pt x="175" y="601"/>
                    </a:lnTo>
                    <a:lnTo>
                      <a:pt x="183" y="597"/>
                    </a:lnTo>
                    <a:lnTo>
                      <a:pt x="179" y="607"/>
                    </a:lnTo>
                    <a:lnTo>
                      <a:pt x="185" y="615"/>
                    </a:lnTo>
                    <a:lnTo>
                      <a:pt x="188" y="617"/>
                    </a:lnTo>
                    <a:lnTo>
                      <a:pt x="213" y="600"/>
                    </a:lnTo>
                    <a:lnTo>
                      <a:pt x="228" y="593"/>
                    </a:lnTo>
                    <a:lnTo>
                      <a:pt x="231" y="589"/>
                    </a:lnTo>
                    <a:lnTo>
                      <a:pt x="234" y="591"/>
                    </a:lnTo>
                    <a:lnTo>
                      <a:pt x="232" y="594"/>
                    </a:lnTo>
                    <a:lnTo>
                      <a:pt x="222" y="600"/>
                    </a:lnTo>
                    <a:lnTo>
                      <a:pt x="218" y="600"/>
                    </a:lnTo>
                    <a:lnTo>
                      <a:pt x="211" y="605"/>
                    </a:lnTo>
                    <a:lnTo>
                      <a:pt x="204" y="610"/>
                    </a:lnTo>
                    <a:lnTo>
                      <a:pt x="209" y="615"/>
                    </a:lnTo>
                    <a:lnTo>
                      <a:pt x="208" y="618"/>
                    </a:lnTo>
                    <a:lnTo>
                      <a:pt x="197" y="623"/>
                    </a:lnTo>
                    <a:lnTo>
                      <a:pt x="190" y="623"/>
                    </a:lnTo>
                    <a:lnTo>
                      <a:pt x="188" y="625"/>
                    </a:lnTo>
                    <a:lnTo>
                      <a:pt x="189" y="629"/>
                    </a:lnTo>
                    <a:lnTo>
                      <a:pt x="187" y="630"/>
                    </a:lnTo>
                    <a:lnTo>
                      <a:pt x="180" y="629"/>
                    </a:lnTo>
                    <a:lnTo>
                      <a:pt x="180" y="623"/>
                    </a:lnTo>
                    <a:lnTo>
                      <a:pt x="175" y="613"/>
                    </a:lnTo>
                    <a:lnTo>
                      <a:pt x="173" y="609"/>
                    </a:lnTo>
                    <a:lnTo>
                      <a:pt x="168" y="609"/>
                    </a:lnTo>
                    <a:lnTo>
                      <a:pt x="166" y="613"/>
                    </a:lnTo>
                    <a:lnTo>
                      <a:pt x="162" y="614"/>
                    </a:lnTo>
                    <a:lnTo>
                      <a:pt x="157" y="618"/>
                    </a:lnTo>
                    <a:lnTo>
                      <a:pt x="157" y="623"/>
                    </a:lnTo>
                    <a:lnTo>
                      <a:pt x="161" y="626"/>
                    </a:lnTo>
                    <a:lnTo>
                      <a:pt x="162" y="629"/>
                    </a:lnTo>
                    <a:lnTo>
                      <a:pt x="154" y="633"/>
                    </a:lnTo>
                    <a:lnTo>
                      <a:pt x="152" y="629"/>
                    </a:lnTo>
                    <a:lnTo>
                      <a:pt x="152" y="624"/>
                    </a:lnTo>
                    <a:lnTo>
                      <a:pt x="150" y="619"/>
                    </a:lnTo>
                    <a:lnTo>
                      <a:pt x="132" y="627"/>
                    </a:lnTo>
                    <a:lnTo>
                      <a:pt x="130" y="630"/>
                    </a:lnTo>
                    <a:lnTo>
                      <a:pt x="127" y="638"/>
                    </a:lnTo>
                    <a:lnTo>
                      <a:pt x="122" y="637"/>
                    </a:lnTo>
                    <a:lnTo>
                      <a:pt x="123" y="642"/>
                    </a:lnTo>
                    <a:lnTo>
                      <a:pt x="122" y="644"/>
                    </a:lnTo>
                    <a:lnTo>
                      <a:pt x="117" y="644"/>
                    </a:lnTo>
                    <a:lnTo>
                      <a:pt x="117" y="642"/>
                    </a:lnTo>
                    <a:lnTo>
                      <a:pt x="116" y="639"/>
                    </a:lnTo>
                    <a:lnTo>
                      <a:pt x="112" y="640"/>
                    </a:lnTo>
                    <a:lnTo>
                      <a:pt x="111" y="642"/>
                    </a:lnTo>
                    <a:lnTo>
                      <a:pt x="111" y="646"/>
                    </a:lnTo>
                    <a:lnTo>
                      <a:pt x="110" y="648"/>
                    </a:lnTo>
                    <a:lnTo>
                      <a:pt x="105" y="648"/>
                    </a:lnTo>
                    <a:lnTo>
                      <a:pt x="95" y="652"/>
                    </a:lnTo>
                    <a:lnTo>
                      <a:pt x="94" y="661"/>
                    </a:lnTo>
                    <a:lnTo>
                      <a:pt x="90" y="669"/>
                    </a:lnTo>
                    <a:lnTo>
                      <a:pt x="85" y="665"/>
                    </a:lnTo>
                    <a:lnTo>
                      <a:pt x="79" y="664"/>
                    </a:lnTo>
                    <a:lnTo>
                      <a:pt x="73" y="670"/>
                    </a:lnTo>
                    <a:lnTo>
                      <a:pt x="72" y="674"/>
                    </a:lnTo>
                    <a:lnTo>
                      <a:pt x="78" y="678"/>
                    </a:lnTo>
                    <a:lnTo>
                      <a:pt x="75" y="682"/>
                    </a:lnTo>
                    <a:lnTo>
                      <a:pt x="80" y="684"/>
                    </a:lnTo>
                    <a:lnTo>
                      <a:pt x="88" y="682"/>
                    </a:lnTo>
                    <a:lnTo>
                      <a:pt x="91" y="686"/>
                    </a:lnTo>
                    <a:lnTo>
                      <a:pt x="95" y="687"/>
                    </a:lnTo>
                    <a:lnTo>
                      <a:pt x="90" y="693"/>
                    </a:lnTo>
                    <a:lnTo>
                      <a:pt x="92" y="697"/>
                    </a:lnTo>
                    <a:lnTo>
                      <a:pt x="87" y="695"/>
                    </a:lnTo>
                    <a:lnTo>
                      <a:pt x="82" y="695"/>
                    </a:lnTo>
                    <a:lnTo>
                      <a:pt x="66" y="693"/>
                    </a:lnTo>
                    <a:lnTo>
                      <a:pt x="62" y="693"/>
                    </a:lnTo>
                    <a:lnTo>
                      <a:pt x="58" y="696"/>
                    </a:lnTo>
                    <a:lnTo>
                      <a:pt x="54" y="695"/>
                    </a:lnTo>
                    <a:lnTo>
                      <a:pt x="50" y="698"/>
                    </a:lnTo>
                    <a:lnTo>
                      <a:pt x="51" y="699"/>
                    </a:lnTo>
                    <a:lnTo>
                      <a:pt x="54" y="701"/>
                    </a:lnTo>
                    <a:lnTo>
                      <a:pt x="51" y="703"/>
                    </a:lnTo>
                    <a:lnTo>
                      <a:pt x="51" y="707"/>
                    </a:lnTo>
                    <a:lnTo>
                      <a:pt x="55" y="706"/>
                    </a:lnTo>
                    <a:lnTo>
                      <a:pt x="60" y="705"/>
                    </a:lnTo>
                    <a:lnTo>
                      <a:pt x="54" y="711"/>
                    </a:lnTo>
                    <a:lnTo>
                      <a:pt x="55" y="716"/>
                    </a:lnTo>
                    <a:lnTo>
                      <a:pt x="57" y="727"/>
                    </a:lnTo>
                    <a:lnTo>
                      <a:pt x="55" y="727"/>
                    </a:lnTo>
                    <a:lnTo>
                      <a:pt x="53" y="718"/>
                    </a:lnTo>
                    <a:lnTo>
                      <a:pt x="50" y="713"/>
                    </a:lnTo>
                    <a:lnTo>
                      <a:pt x="43" y="718"/>
                    </a:lnTo>
                    <a:lnTo>
                      <a:pt x="40" y="723"/>
                    </a:lnTo>
                    <a:lnTo>
                      <a:pt x="38" y="730"/>
                    </a:lnTo>
                    <a:lnTo>
                      <a:pt x="41" y="733"/>
                    </a:lnTo>
                    <a:lnTo>
                      <a:pt x="42" y="738"/>
                    </a:lnTo>
                    <a:lnTo>
                      <a:pt x="35" y="733"/>
                    </a:lnTo>
                    <a:lnTo>
                      <a:pt x="33" y="728"/>
                    </a:lnTo>
                    <a:lnTo>
                      <a:pt x="28" y="730"/>
                    </a:lnTo>
                    <a:lnTo>
                      <a:pt x="19" y="730"/>
                    </a:lnTo>
                    <a:lnTo>
                      <a:pt x="19" y="734"/>
                    </a:lnTo>
                    <a:lnTo>
                      <a:pt x="19" y="738"/>
                    </a:lnTo>
                    <a:lnTo>
                      <a:pt x="9" y="729"/>
                    </a:lnTo>
                    <a:lnTo>
                      <a:pt x="6" y="731"/>
                    </a:lnTo>
                    <a:lnTo>
                      <a:pt x="10" y="742"/>
                    </a:lnTo>
                    <a:lnTo>
                      <a:pt x="8" y="745"/>
                    </a:lnTo>
                    <a:lnTo>
                      <a:pt x="9" y="746"/>
                    </a:lnTo>
                    <a:lnTo>
                      <a:pt x="28" y="746"/>
                    </a:lnTo>
                    <a:lnTo>
                      <a:pt x="44" y="742"/>
                    </a:lnTo>
                    <a:lnTo>
                      <a:pt x="34" y="749"/>
                    </a:lnTo>
                    <a:lnTo>
                      <a:pt x="37" y="751"/>
                    </a:lnTo>
                    <a:lnTo>
                      <a:pt x="44" y="750"/>
                    </a:lnTo>
                    <a:lnTo>
                      <a:pt x="50" y="747"/>
                    </a:lnTo>
                    <a:lnTo>
                      <a:pt x="51" y="750"/>
                    </a:lnTo>
                    <a:lnTo>
                      <a:pt x="45" y="753"/>
                    </a:lnTo>
                    <a:lnTo>
                      <a:pt x="34" y="755"/>
                    </a:lnTo>
                    <a:lnTo>
                      <a:pt x="24" y="755"/>
                    </a:lnTo>
                    <a:lnTo>
                      <a:pt x="20" y="752"/>
                    </a:lnTo>
                    <a:lnTo>
                      <a:pt x="17" y="752"/>
                    </a:lnTo>
                    <a:lnTo>
                      <a:pt x="9" y="757"/>
                    </a:lnTo>
                    <a:lnTo>
                      <a:pt x="8" y="762"/>
                    </a:lnTo>
                    <a:lnTo>
                      <a:pt x="4" y="761"/>
                    </a:lnTo>
                    <a:lnTo>
                      <a:pt x="1" y="762"/>
                    </a:lnTo>
                    <a:lnTo>
                      <a:pt x="1" y="767"/>
                    </a:lnTo>
                    <a:lnTo>
                      <a:pt x="11" y="770"/>
                    </a:lnTo>
                    <a:lnTo>
                      <a:pt x="10" y="775"/>
                    </a:lnTo>
                    <a:lnTo>
                      <a:pt x="10" y="779"/>
                    </a:lnTo>
                    <a:lnTo>
                      <a:pt x="7" y="781"/>
                    </a:lnTo>
                    <a:lnTo>
                      <a:pt x="2" y="788"/>
                    </a:lnTo>
                    <a:lnTo>
                      <a:pt x="5" y="792"/>
                    </a:lnTo>
                    <a:lnTo>
                      <a:pt x="2" y="795"/>
                    </a:lnTo>
                    <a:lnTo>
                      <a:pt x="2" y="800"/>
                    </a:lnTo>
                    <a:lnTo>
                      <a:pt x="5" y="802"/>
                    </a:lnTo>
                    <a:lnTo>
                      <a:pt x="5" y="807"/>
                    </a:lnTo>
                    <a:lnTo>
                      <a:pt x="16" y="809"/>
                    </a:lnTo>
                    <a:lnTo>
                      <a:pt x="35" y="801"/>
                    </a:lnTo>
                    <a:lnTo>
                      <a:pt x="40" y="804"/>
                    </a:lnTo>
                    <a:lnTo>
                      <a:pt x="47" y="804"/>
                    </a:lnTo>
                    <a:lnTo>
                      <a:pt x="50" y="797"/>
                    </a:lnTo>
                    <a:lnTo>
                      <a:pt x="55" y="786"/>
                    </a:lnTo>
                    <a:lnTo>
                      <a:pt x="57" y="792"/>
                    </a:lnTo>
                    <a:lnTo>
                      <a:pt x="55" y="801"/>
                    </a:lnTo>
                    <a:lnTo>
                      <a:pt x="58" y="803"/>
                    </a:lnTo>
                    <a:lnTo>
                      <a:pt x="66" y="803"/>
                    </a:lnTo>
                    <a:lnTo>
                      <a:pt x="71" y="801"/>
                    </a:lnTo>
                    <a:lnTo>
                      <a:pt x="74" y="803"/>
                    </a:lnTo>
                    <a:lnTo>
                      <a:pt x="82" y="796"/>
                    </a:lnTo>
                    <a:lnTo>
                      <a:pt x="84" y="780"/>
                    </a:lnTo>
                    <a:lnTo>
                      <a:pt x="92" y="776"/>
                    </a:lnTo>
                    <a:lnTo>
                      <a:pt x="92" y="779"/>
                    </a:lnTo>
                    <a:lnTo>
                      <a:pt x="87" y="789"/>
                    </a:lnTo>
                    <a:lnTo>
                      <a:pt x="86" y="797"/>
                    </a:lnTo>
                    <a:lnTo>
                      <a:pt x="85" y="800"/>
                    </a:lnTo>
                    <a:lnTo>
                      <a:pt x="89" y="799"/>
                    </a:lnTo>
                    <a:lnTo>
                      <a:pt x="94" y="797"/>
                    </a:lnTo>
                    <a:lnTo>
                      <a:pt x="97" y="798"/>
                    </a:lnTo>
                    <a:lnTo>
                      <a:pt x="87" y="805"/>
                    </a:lnTo>
                    <a:lnTo>
                      <a:pt x="76" y="809"/>
                    </a:lnTo>
                    <a:lnTo>
                      <a:pt x="75" y="815"/>
                    </a:lnTo>
                    <a:lnTo>
                      <a:pt x="79" y="821"/>
                    </a:lnTo>
                    <a:lnTo>
                      <a:pt x="69" y="826"/>
                    </a:lnTo>
                    <a:lnTo>
                      <a:pt x="69" y="819"/>
                    </a:lnTo>
                    <a:lnTo>
                      <a:pt x="67" y="814"/>
                    </a:lnTo>
                    <a:lnTo>
                      <a:pt x="62" y="809"/>
                    </a:lnTo>
                    <a:lnTo>
                      <a:pt x="54" y="809"/>
                    </a:lnTo>
                    <a:lnTo>
                      <a:pt x="45" y="812"/>
                    </a:lnTo>
                    <a:lnTo>
                      <a:pt x="39" y="810"/>
                    </a:lnTo>
                    <a:lnTo>
                      <a:pt x="32" y="811"/>
                    </a:lnTo>
                    <a:lnTo>
                      <a:pt x="26" y="811"/>
                    </a:lnTo>
                    <a:lnTo>
                      <a:pt x="20" y="815"/>
                    </a:lnTo>
                    <a:lnTo>
                      <a:pt x="8" y="813"/>
                    </a:lnTo>
                    <a:lnTo>
                      <a:pt x="4" y="821"/>
                    </a:lnTo>
                    <a:lnTo>
                      <a:pt x="4" y="827"/>
                    </a:lnTo>
                    <a:lnTo>
                      <a:pt x="9" y="828"/>
                    </a:lnTo>
                    <a:lnTo>
                      <a:pt x="12" y="827"/>
                    </a:lnTo>
                    <a:lnTo>
                      <a:pt x="12" y="837"/>
                    </a:lnTo>
                    <a:lnTo>
                      <a:pt x="7" y="835"/>
                    </a:lnTo>
                    <a:lnTo>
                      <a:pt x="2" y="831"/>
                    </a:lnTo>
                    <a:lnTo>
                      <a:pt x="1" y="833"/>
                    </a:lnTo>
                    <a:lnTo>
                      <a:pt x="0" y="833"/>
                    </a:lnTo>
                    <a:lnTo>
                      <a:pt x="0" y="835"/>
                    </a:lnTo>
                    <a:lnTo>
                      <a:pt x="7" y="847"/>
                    </a:lnTo>
                    <a:lnTo>
                      <a:pt x="11" y="848"/>
                    </a:lnTo>
                    <a:lnTo>
                      <a:pt x="20" y="842"/>
                    </a:lnTo>
                    <a:lnTo>
                      <a:pt x="26" y="841"/>
                    </a:lnTo>
                    <a:lnTo>
                      <a:pt x="17" y="849"/>
                    </a:lnTo>
                    <a:lnTo>
                      <a:pt x="15" y="854"/>
                    </a:lnTo>
                    <a:lnTo>
                      <a:pt x="17" y="857"/>
                    </a:lnTo>
                    <a:lnTo>
                      <a:pt x="9" y="861"/>
                    </a:lnTo>
                    <a:lnTo>
                      <a:pt x="6" y="865"/>
                    </a:lnTo>
                    <a:lnTo>
                      <a:pt x="8" y="870"/>
                    </a:lnTo>
                    <a:lnTo>
                      <a:pt x="10" y="873"/>
                    </a:lnTo>
                    <a:lnTo>
                      <a:pt x="12" y="878"/>
                    </a:lnTo>
                    <a:lnTo>
                      <a:pt x="17" y="874"/>
                    </a:lnTo>
                    <a:lnTo>
                      <a:pt x="21" y="870"/>
                    </a:lnTo>
                    <a:lnTo>
                      <a:pt x="21" y="877"/>
                    </a:lnTo>
                    <a:lnTo>
                      <a:pt x="27" y="885"/>
                    </a:lnTo>
                    <a:lnTo>
                      <a:pt x="21" y="885"/>
                    </a:lnTo>
                    <a:lnTo>
                      <a:pt x="16" y="890"/>
                    </a:lnTo>
                    <a:lnTo>
                      <a:pt x="16" y="893"/>
                    </a:lnTo>
                    <a:lnTo>
                      <a:pt x="19" y="896"/>
                    </a:lnTo>
                    <a:lnTo>
                      <a:pt x="26" y="892"/>
                    </a:lnTo>
                    <a:lnTo>
                      <a:pt x="30" y="884"/>
                    </a:lnTo>
                    <a:lnTo>
                      <a:pt x="30" y="877"/>
                    </a:lnTo>
                    <a:lnTo>
                      <a:pt x="35" y="872"/>
                    </a:lnTo>
                    <a:lnTo>
                      <a:pt x="42" y="864"/>
                    </a:lnTo>
                    <a:lnTo>
                      <a:pt x="49" y="850"/>
                    </a:lnTo>
                    <a:lnTo>
                      <a:pt x="55" y="845"/>
                    </a:lnTo>
                    <a:lnTo>
                      <a:pt x="58" y="848"/>
                    </a:lnTo>
                    <a:lnTo>
                      <a:pt x="58" y="851"/>
                    </a:lnTo>
                    <a:lnTo>
                      <a:pt x="67" y="849"/>
                    </a:lnTo>
                    <a:lnTo>
                      <a:pt x="73" y="850"/>
                    </a:lnTo>
                    <a:lnTo>
                      <a:pt x="63" y="855"/>
                    </a:lnTo>
                    <a:lnTo>
                      <a:pt x="62" y="862"/>
                    </a:lnTo>
                    <a:lnTo>
                      <a:pt x="60" y="867"/>
                    </a:lnTo>
                    <a:lnTo>
                      <a:pt x="58" y="859"/>
                    </a:lnTo>
                    <a:lnTo>
                      <a:pt x="55" y="858"/>
                    </a:lnTo>
                    <a:lnTo>
                      <a:pt x="50" y="868"/>
                    </a:lnTo>
                    <a:lnTo>
                      <a:pt x="43" y="874"/>
                    </a:lnTo>
                    <a:lnTo>
                      <a:pt x="46" y="878"/>
                    </a:lnTo>
                    <a:lnTo>
                      <a:pt x="47" y="880"/>
                    </a:lnTo>
                    <a:lnTo>
                      <a:pt x="40" y="884"/>
                    </a:lnTo>
                    <a:lnTo>
                      <a:pt x="27" y="901"/>
                    </a:lnTo>
                    <a:lnTo>
                      <a:pt x="32" y="904"/>
                    </a:lnTo>
                    <a:lnTo>
                      <a:pt x="44" y="904"/>
                    </a:lnTo>
                    <a:lnTo>
                      <a:pt x="49" y="901"/>
                    </a:lnTo>
                    <a:lnTo>
                      <a:pt x="50" y="903"/>
                    </a:lnTo>
                    <a:lnTo>
                      <a:pt x="37" y="908"/>
                    </a:lnTo>
                    <a:lnTo>
                      <a:pt x="32" y="913"/>
                    </a:lnTo>
                    <a:lnTo>
                      <a:pt x="32" y="915"/>
                    </a:lnTo>
                    <a:lnTo>
                      <a:pt x="26" y="915"/>
                    </a:lnTo>
                    <a:lnTo>
                      <a:pt x="22" y="917"/>
                    </a:lnTo>
                    <a:lnTo>
                      <a:pt x="18" y="915"/>
                    </a:lnTo>
                    <a:lnTo>
                      <a:pt x="12" y="923"/>
                    </a:lnTo>
                    <a:lnTo>
                      <a:pt x="9" y="929"/>
                    </a:lnTo>
                    <a:lnTo>
                      <a:pt x="9" y="935"/>
                    </a:lnTo>
                    <a:lnTo>
                      <a:pt x="11" y="937"/>
                    </a:lnTo>
                    <a:lnTo>
                      <a:pt x="12" y="939"/>
                    </a:lnTo>
                    <a:lnTo>
                      <a:pt x="18" y="938"/>
                    </a:lnTo>
                    <a:lnTo>
                      <a:pt x="21" y="933"/>
                    </a:lnTo>
                    <a:lnTo>
                      <a:pt x="22" y="938"/>
                    </a:lnTo>
                    <a:lnTo>
                      <a:pt x="27" y="938"/>
                    </a:lnTo>
                    <a:lnTo>
                      <a:pt x="29" y="934"/>
                    </a:lnTo>
                    <a:lnTo>
                      <a:pt x="28" y="930"/>
                    </a:lnTo>
                    <a:lnTo>
                      <a:pt x="32" y="933"/>
                    </a:lnTo>
                    <a:lnTo>
                      <a:pt x="42" y="928"/>
                    </a:lnTo>
                    <a:lnTo>
                      <a:pt x="45" y="924"/>
                    </a:lnTo>
                    <a:lnTo>
                      <a:pt x="49" y="926"/>
                    </a:lnTo>
                    <a:lnTo>
                      <a:pt x="40" y="937"/>
                    </a:lnTo>
                    <a:lnTo>
                      <a:pt x="43" y="937"/>
                    </a:lnTo>
                    <a:lnTo>
                      <a:pt x="43" y="943"/>
                    </a:lnTo>
                    <a:lnTo>
                      <a:pt x="40" y="950"/>
                    </a:lnTo>
                    <a:lnTo>
                      <a:pt x="38" y="954"/>
                    </a:lnTo>
                    <a:lnTo>
                      <a:pt x="33" y="958"/>
                    </a:lnTo>
                    <a:lnTo>
                      <a:pt x="34" y="963"/>
                    </a:lnTo>
                    <a:lnTo>
                      <a:pt x="34" y="965"/>
                    </a:lnTo>
                    <a:lnTo>
                      <a:pt x="30" y="965"/>
                    </a:lnTo>
                    <a:lnTo>
                      <a:pt x="27" y="966"/>
                    </a:lnTo>
                    <a:lnTo>
                      <a:pt x="24" y="962"/>
                    </a:lnTo>
                    <a:lnTo>
                      <a:pt x="22" y="962"/>
                    </a:lnTo>
                    <a:lnTo>
                      <a:pt x="18" y="983"/>
                    </a:lnTo>
                    <a:lnTo>
                      <a:pt x="26" y="994"/>
                    </a:lnTo>
                    <a:lnTo>
                      <a:pt x="40" y="1006"/>
                    </a:lnTo>
                    <a:lnTo>
                      <a:pt x="50" y="1012"/>
                    </a:lnTo>
                    <a:lnTo>
                      <a:pt x="57" y="1014"/>
                    </a:lnTo>
                    <a:lnTo>
                      <a:pt x="62" y="1005"/>
                    </a:lnTo>
                    <a:lnTo>
                      <a:pt x="62" y="1017"/>
                    </a:lnTo>
                    <a:lnTo>
                      <a:pt x="61" y="1026"/>
                    </a:lnTo>
                    <a:lnTo>
                      <a:pt x="65" y="1022"/>
                    </a:lnTo>
                    <a:lnTo>
                      <a:pt x="71" y="1026"/>
                    </a:lnTo>
                    <a:lnTo>
                      <a:pt x="74" y="1020"/>
                    </a:lnTo>
                    <a:lnTo>
                      <a:pt x="84" y="1020"/>
                    </a:lnTo>
                    <a:lnTo>
                      <a:pt x="78" y="1026"/>
                    </a:lnTo>
                    <a:lnTo>
                      <a:pt x="89" y="1030"/>
                    </a:lnTo>
                    <a:lnTo>
                      <a:pt x="98" y="1027"/>
                    </a:lnTo>
                    <a:lnTo>
                      <a:pt x="106" y="1020"/>
                    </a:lnTo>
                    <a:lnTo>
                      <a:pt x="109" y="1011"/>
                    </a:lnTo>
                    <a:lnTo>
                      <a:pt x="113" y="1018"/>
                    </a:lnTo>
                    <a:lnTo>
                      <a:pt x="127" y="1009"/>
                    </a:lnTo>
                    <a:lnTo>
                      <a:pt x="140" y="992"/>
                    </a:lnTo>
                    <a:lnTo>
                      <a:pt x="148" y="987"/>
                    </a:lnTo>
                    <a:lnTo>
                      <a:pt x="150" y="981"/>
                    </a:lnTo>
                    <a:lnTo>
                      <a:pt x="154" y="976"/>
                    </a:lnTo>
                    <a:lnTo>
                      <a:pt x="156" y="973"/>
                    </a:lnTo>
                    <a:lnTo>
                      <a:pt x="167" y="961"/>
                    </a:lnTo>
                    <a:lnTo>
                      <a:pt x="165" y="956"/>
                    </a:lnTo>
                    <a:lnTo>
                      <a:pt x="174" y="961"/>
                    </a:lnTo>
                    <a:lnTo>
                      <a:pt x="183" y="961"/>
                    </a:lnTo>
                    <a:lnTo>
                      <a:pt x="188" y="958"/>
                    </a:lnTo>
                    <a:lnTo>
                      <a:pt x="190" y="950"/>
                    </a:lnTo>
                    <a:lnTo>
                      <a:pt x="190" y="946"/>
                    </a:lnTo>
                    <a:lnTo>
                      <a:pt x="196" y="941"/>
                    </a:lnTo>
                    <a:lnTo>
                      <a:pt x="196" y="934"/>
                    </a:lnTo>
                    <a:lnTo>
                      <a:pt x="191" y="929"/>
                    </a:lnTo>
                    <a:lnTo>
                      <a:pt x="188" y="924"/>
                    </a:lnTo>
                    <a:lnTo>
                      <a:pt x="190" y="922"/>
                    </a:lnTo>
                    <a:lnTo>
                      <a:pt x="191" y="919"/>
                    </a:lnTo>
                    <a:lnTo>
                      <a:pt x="189" y="911"/>
                    </a:lnTo>
                    <a:lnTo>
                      <a:pt x="192" y="914"/>
                    </a:lnTo>
                    <a:lnTo>
                      <a:pt x="195" y="918"/>
                    </a:lnTo>
                    <a:lnTo>
                      <a:pt x="195" y="924"/>
                    </a:lnTo>
                    <a:lnTo>
                      <a:pt x="199" y="923"/>
                    </a:lnTo>
                    <a:lnTo>
                      <a:pt x="200" y="918"/>
                    </a:lnTo>
                    <a:lnTo>
                      <a:pt x="197" y="913"/>
                    </a:lnTo>
                    <a:lnTo>
                      <a:pt x="196" y="902"/>
                    </a:lnTo>
                    <a:lnTo>
                      <a:pt x="198" y="900"/>
                    </a:lnTo>
                    <a:lnTo>
                      <a:pt x="199" y="901"/>
                    </a:lnTo>
                    <a:lnTo>
                      <a:pt x="203" y="899"/>
                    </a:lnTo>
                    <a:lnTo>
                      <a:pt x="207" y="900"/>
                    </a:lnTo>
                    <a:lnTo>
                      <a:pt x="207" y="905"/>
                    </a:lnTo>
                    <a:lnTo>
                      <a:pt x="201" y="907"/>
                    </a:lnTo>
                    <a:lnTo>
                      <a:pt x="201" y="912"/>
                    </a:lnTo>
                    <a:lnTo>
                      <a:pt x="203" y="919"/>
                    </a:lnTo>
                    <a:lnTo>
                      <a:pt x="204" y="938"/>
                    </a:lnTo>
                    <a:lnTo>
                      <a:pt x="207" y="946"/>
                    </a:lnTo>
                    <a:lnTo>
                      <a:pt x="211" y="945"/>
                    </a:lnTo>
                    <a:lnTo>
                      <a:pt x="218" y="950"/>
                    </a:lnTo>
                    <a:lnTo>
                      <a:pt x="222" y="950"/>
                    </a:lnTo>
                    <a:lnTo>
                      <a:pt x="224" y="954"/>
                    </a:lnTo>
                    <a:lnTo>
                      <a:pt x="226" y="958"/>
                    </a:lnTo>
                    <a:lnTo>
                      <a:pt x="226" y="972"/>
                    </a:lnTo>
                    <a:lnTo>
                      <a:pt x="229" y="963"/>
                    </a:lnTo>
                    <a:lnTo>
                      <a:pt x="231" y="969"/>
                    </a:lnTo>
                    <a:lnTo>
                      <a:pt x="236" y="965"/>
                    </a:lnTo>
                    <a:lnTo>
                      <a:pt x="242" y="940"/>
                    </a:lnTo>
                    <a:lnTo>
                      <a:pt x="238" y="933"/>
                    </a:lnTo>
                    <a:lnTo>
                      <a:pt x="237" y="922"/>
                    </a:lnTo>
                    <a:lnTo>
                      <a:pt x="246" y="907"/>
                    </a:lnTo>
                    <a:lnTo>
                      <a:pt x="246" y="899"/>
                    </a:lnTo>
                    <a:lnTo>
                      <a:pt x="265" y="891"/>
                    </a:lnTo>
                    <a:lnTo>
                      <a:pt x="268" y="884"/>
                    </a:lnTo>
                    <a:lnTo>
                      <a:pt x="269" y="873"/>
                    </a:lnTo>
                    <a:lnTo>
                      <a:pt x="266" y="868"/>
                    </a:lnTo>
                    <a:lnTo>
                      <a:pt x="271" y="848"/>
                    </a:lnTo>
                    <a:lnTo>
                      <a:pt x="266" y="826"/>
                    </a:lnTo>
                    <a:lnTo>
                      <a:pt x="259" y="818"/>
                    </a:lnTo>
                    <a:lnTo>
                      <a:pt x="262" y="814"/>
                    </a:lnTo>
                    <a:lnTo>
                      <a:pt x="270" y="810"/>
                    </a:lnTo>
                    <a:lnTo>
                      <a:pt x="278" y="802"/>
                    </a:lnTo>
                    <a:lnTo>
                      <a:pt x="281" y="790"/>
                    </a:lnTo>
                    <a:lnTo>
                      <a:pt x="279" y="776"/>
                    </a:lnTo>
                    <a:lnTo>
                      <a:pt x="266" y="766"/>
                    </a:lnTo>
                    <a:lnTo>
                      <a:pt x="260" y="756"/>
                    </a:lnTo>
                    <a:lnTo>
                      <a:pt x="259" y="742"/>
                    </a:lnTo>
                    <a:lnTo>
                      <a:pt x="260" y="715"/>
                    </a:lnTo>
                    <a:lnTo>
                      <a:pt x="257" y="705"/>
                    </a:lnTo>
                    <a:lnTo>
                      <a:pt x="255" y="703"/>
                    </a:lnTo>
                    <a:lnTo>
                      <a:pt x="255" y="694"/>
                    </a:lnTo>
                    <a:lnTo>
                      <a:pt x="257" y="688"/>
                    </a:lnTo>
                    <a:lnTo>
                      <a:pt x="257" y="675"/>
                    </a:lnTo>
                    <a:lnTo>
                      <a:pt x="259" y="669"/>
                    </a:lnTo>
                    <a:lnTo>
                      <a:pt x="260" y="661"/>
                    </a:lnTo>
                    <a:lnTo>
                      <a:pt x="265" y="654"/>
                    </a:lnTo>
                    <a:lnTo>
                      <a:pt x="262" y="651"/>
                    </a:lnTo>
                    <a:lnTo>
                      <a:pt x="257" y="641"/>
                    </a:lnTo>
                    <a:lnTo>
                      <a:pt x="255" y="630"/>
                    </a:lnTo>
                    <a:lnTo>
                      <a:pt x="257" y="617"/>
                    </a:lnTo>
                    <a:lnTo>
                      <a:pt x="262" y="606"/>
                    </a:lnTo>
                    <a:lnTo>
                      <a:pt x="278" y="586"/>
                    </a:lnTo>
                    <a:lnTo>
                      <a:pt x="289" y="579"/>
                    </a:lnTo>
                    <a:lnTo>
                      <a:pt x="303" y="574"/>
                    </a:lnTo>
                    <a:lnTo>
                      <a:pt x="315" y="578"/>
                    </a:lnTo>
                    <a:lnTo>
                      <a:pt x="324" y="578"/>
                    </a:lnTo>
                    <a:lnTo>
                      <a:pt x="331" y="570"/>
                    </a:lnTo>
                    <a:lnTo>
                      <a:pt x="333" y="562"/>
                    </a:lnTo>
                    <a:lnTo>
                      <a:pt x="333" y="549"/>
                    </a:lnTo>
                    <a:lnTo>
                      <a:pt x="328" y="541"/>
                    </a:lnTo>
                    <a:lnTo>
                      <a:pt x="319" y="531"/>
                    </a:lnTo>
                    <a:lnTo>
                      <a:pt x="319" y="525"/>
                    </a:lnTo>
                    <a:lnTo>
                      <a:pt x="332" y="503"/>
                    </a:lnTo>
                    <a:lnTo>
                      <a:pt x="343" y="479"/>
                    </a:lnTo>
                    <a:lnTo>
                      <a:pt x="348" y="445"/>
                    </a:lnTo>
                    <a:lnTo>
                      <a:pt x="349" y="426"/>
                    </a:lnTo>
                    <a:lnTo>
                      <a:pt x="349" y="412"/>
                    </a:lnTo>
                    <a:lnTo>
                      <a:pt x="348" y="402"/>
                    </a:lnTo>
                    <a:lnTo>
                      <a:pt x="353" y="399"/>
                    </a:lnTo>
                    <a:lnTo>
                      <a:pt x="360" y="399"/>
                    </a:lnTo>
                    <a:lnTo>
                      <a:pt x="372" y="390"/>
                    </a:lnTo>
                    <a:lnTo>
                      <a:pt x="376" y="383"/>
                    </a:lnTo>
                    <a:lnTo>
                      <a:pt x="377" y="368"/>
                    </a:lnTo>
                    <a:lnTo>
                      <a:pt x="381" y="359"/>
                    </a:lnTo>
                    <a:lnTo>
                      <a:pt x="397" y="338"/>
                    </a:lnTo>
                    <a:lnTo>
                      <a:pt x="401" y="329"/>
                    </a:lnTo>
                    <a:lnTo>
                      <a:pt x="410" y="320"/>
                    </a:lnTo>
                    <a:lnTo>
                      <a:pt x="414" y="311"/>
                    </a:lnTo>
                    <a:lnTo>
                      <a:pt x="415" y="306"/>
                    </a:lnTo>
                    <a:lnTo>
                      <a:pt x="414" y="297"/>
                    </a:lnTo>
                    <a:lnTo>
                      <a:pt x="405" y="283"/>
                    </a:lnTo>
                    <a:lnTo>
                      <a:pt x="408" y="273"/>
                    </a:lnTo>
                    <a:lnTo>
                      <a:pt x="417" y="262"/>
                    </a:lnTo>
                    <a:lnTo>
                      <a:pt x="421" y="256"/>
                    </a:lnTo>
                    <a:lnTo>
                      <a:pt x="422" y="247"/>
                    </a:lnTo>
                    <a:lnTo>
                      <a:pt x="425" y="236"/>
                    </a:lnTo>
                    <a:lnTo>
                      <a:pt x="431" y="228"/>
                    </a:lnTo>
                    <a:lnTo>
                      <a:pt x="443" y="215"/>
                    </a:lnTo>
                    <a:lnTo>
                      <a:pt x="451" y="213"/>
                    </a:lnTo>
                    <a:lnTo>
                      <a:pt x="459" y="217"/>
                    </a:lnTo>
                    <a:lnTo>
                      <a:pt x="466" y="226"/>
                    </a:lnTo>
                    <a:lnTo>
                      <a:pt x="469" y="227"/>
                    </a:lnTo>
                    <a:lnTo>
                      <a:pt x="474" y="216"/>
                    </a:lnTo>
                    <a:lnTo>
                      <a:pt x="478" y="202"/>
                    </a:lnTo>
                    <a:lnTo>
                      <a:pt x="479" y="196"/>
                    </a:lnTo>
                    <a:lnTo>
                      <a:pt x="478" y="180"/>
                    </a:lnTo>
                    <a:lnTo>
                      <a:pt x="481" y="173"/>
                    </a:lnTo>
                    <a:lnTo>
                      <a:pt x="484" y="171"/>
                    </a:lnTo>
                    <a:lnTo>
                      <a:pt x="491" y="170"/>
                    </a:lnTo>
                    <a:lnTo>
                      <a:pt x="512" y="172"/>
                    </a:lnTo>
                    <a:lnTo>
                      <a:pt x="540" y="182"/>
                    </a:lnTo>
                    <a:lnTo>
                      <a:pt x="546" y="181"/>
                    </a:lnTo>
                    <a:lnTo>
                      <a:pt x="550" y="176"/>
                    </a:lnTo>
                    <a:lnTo>
                      <a:pt x="544" y="169"/>
                    </a:lnTo>
                    <a:lnTo>
                      <a:pt x="543" y="163"/>
                    </a:lnTo>
                    <a:lnTo>
                      <a:pt x="547" y="156"/>
                    </a:lnTo>
                    <a:lnTo>
                      <a:pt x="549" y="145"/>
                    </a:lnTo>
                    <a:lnTo>
                      <a:pt x="552" y="142"/>
                    </a:lnTo>
                    <a:lnTo>
                      <a:pt x="554" y="136"/>
                    </a:lnTo>
                    <a:lnTo>
                      <a:pt x="552" y="129"/>
                    </a:lnTo>
                    <a:lnTo>
                      <a:pt x="549" y="125"/>
                    </a:lnTo>
                    <a:lnTo>
                      <a:pt x="549" y="119"/>
                    </a:lnTo>
                    <a:lnTo>
                      <a:pt x="552" y="117"/>
                    </a:lnTo>
                    <a:lnTo>
                      <a:pt x="568" y="118"/>
                    </a:lnTo>
                    <a:lnTo>
                      <a:pt x="570" y="112"/>
                    </a:lnTo>
                    <a:lnTo>
                      <a:pt x="575" y="110"/>
                    </a:lnTo>
                    <a:lnTo>
                      <a:pt x="581" y="112"/>
                    </a:lnTo>
                    <a:lnTo>
                      <a:pt x="586" y="110"/>
                    </a:lnTo>
                    <a:lnTo>
                      <a:pt x="585" y="102"/>
                    </a:lnTo>
                    <a:lnTo>
                      <a:pt x="584" y="95"/>
                    </a:lnTo>
                    <a:lnTo>
                      <a:pt x="593" y="90"/>
                    </a:lnTo>
                    <a:lnTo>
                      <a:pt x="602" y="94"/>
                    </a:lnTo>
                    <a:lnTo>
                      <a:pt x="610" y="101"/>
                    </a:lnTo>
                    <a:lnTo>
                      <a:pt x="629" y="131"/>
                    </a:lnTo>
                    <a:lnTo>
                      <a:pt x="633" y="143"/>
                    </a:lnTo>
                    <a:lnTo>
                      <a:pt x="636" y="148"/>
                    </a:lnTo>
                    <a:lnTo>
                      <a:pt x="653" y="152"/>
                    </a:lnTo>
                    <a:lnTo>
                      <a:pt x="663" y="156"/>
                    </a:lnTo>
                    <a:lnTo>
                      <a:pt x="671" y="156"/>
                    </a:lnTo>
                    <a:lnTo>
                      <a:pt x="681" y="149"/>
                    </a:lnTo>
                    <a:lnTo>
                      <a:pt x="693" y="136"/>
                    </a:lnTo>
                    <a:lnTo>
                      <a:pt x="698" y="142"/>
                    </a:lnTo>
                    <a:lnTo>
                      <a:pt x="705" y="149"/>
                    </a:lnTo>
                    <a:lnTo>
                      <a:pt x="707" y="156"/>
                    </a:lnTo>
                    <a:lnTo>
                      <a:pt x="714" y="157"/>
                    </a:lnTo>
                    <a:lnTo>
                      <a:pt x="724" y="153"/>
                    </a:lnTo>
                    <a:lnTo>
                      <a:pt x="732" y="146"/>
                    </a:lnTo>
                    <a:lnTo>
                      <a:pt x="738" y="137"/>
                    </a:lnTo>
                    <a:lnTo>
                      <a:pt x="756" y="124"/>
                    </a:lnTo>
                    <a:lnTo>
                      <a:pt x="757" y="117"/>
                    </a:lnTo>
                    <a:lnTo>
                      <a:pt x="756" y="101"/>
                    </a:lnTo>
                    <a:lnTo>
                      <a:pt x="756" y="92"/>
                    </a:lnTo>
                    <a:lnTo>
                      <a:pt x="758" y="64"/>
                    </a:lnTo>
                    <a:lnTo>
                      <a:pt x="766" y="43"/>
                    </a:lnTo>
                    <a:lnTo>
                      <a:pt x="774" y="34"/>
                    </a:lnTo>
                    <a:lnTo>
                      <a:pt x="782" y="30"/>
                    </a:lnTo>
                    <a:lnTo>
                      <a:pt x="798" y="28"/>
                    </a:lnTo>
                    <a:lnTo>
                      <a:pt x="824" y="17"/>
                    </a:lnTo>
                    <a:lnTo>
                      <a:pt x="840" y="14"/>
                    </a:lnTo>
                    <a:lnTo>
                      <a:pt x="843" y="17"/>
                    </a:lnTo>
                    <a:lnTo>
                      <a:pt x="850" y="30"/>
                    </a:lnTo>
                    <a:lnTo>
                      <a:pt x="856" y="37"/>
                    </a:lnTo>
                    <a:lnTo>
                      <a:pt x="869" y="41"/>
                    </a:lnTo>
                    <a:lnTo>
                      <a:pt x="881" y="52"/>
                    </a:lnTo>
                    <a:lnTo>
                      <a:pt x="885" y="71"/>
                    </a:lnTo>
                    <a:lnTo>
                      <a:pt x="886" y="81"/>
                    </a:lnTo>
                    <a:lnTo>
                      <a:pt x="873" y="97"/>
                    </a:lnTo>
                    <a:lnTo>
                      <a:pt x="871" y="106"/>
                    </a:lnTo>
                    <a:lnTo>
                      <a:pt x="871" y="112"/>
                    </a:lnTo>
                    <a:lnTo>
                      <a:pt x="877" y="118"/>
                    </a:lnTo>
                    <a:lnTo>
                      <a:pt x="880" y="117"/>
                    </a:lnTo>
                    <a:lnTo>
                      <a:pt x="885" y="111"/>
                    </a:lnTo>
                    <a:lnTo>
                      <a:pt x="886" y="109"/>
                    </a:lnTo>
                    <a:lnTo>
                      <a:pt x="886" y="101"/>
                    </a:lnTo>
                    <a:lnTo>
                      <a:pt x="888" y="98"/>
                    </a:lnTo>
                    <a:lnTo>
                      <a:pt x="909" y="86"/>
                    </a:lnTo>
                    <a:lnTo>
                      <a:pt x="914" y="80"/>
                    </a:lnTo>
                    <a:lnTo>
                      <a:pt x="918" y="61"/>
                    </a:lnTo>
                    <a:lnTo>
                      <a:pt x="932" y="69"/>
                    </a:lnTo>
                    <a:lnTo>
                      <a:pt x="940" y="67"/>
                    </a:lnTo>
                    <a:lnTo>
                      <a:pt x="942" y="64"/>
                    </a:lnTo>
                    <a:lnTo>
                      <a:pt x="944" y="56"/>
                    </a:lnTo>
                    <a:lnTo>
                      <a:pt x="945" y="49"/>
                    </a:lnTo>
                    <a:lnTo>
                      <a:pt x="943" y="45"/>
                    </a:lnTo>
                    <a:lnTo>
                      <a:pt x="928" y="42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25" name="Freeform 17"/>
              <p:cNvSpPr>
                <a:spLocks/>
              </p:cNvSpPr>
              <p:nvPr/>
            </p:nvSpPr>
            <p:spPr bwMode="auto">
              <a:xfrm>
                <a:off x="3578793" y="2322509"/>
                <a:ext cx="514297" cy="450273"/>
              </a:xfrm>
              <a:custGeom>
                <a:avLst/>
                <a:gdLst>
                  <a:gd name="T0" fmla="*/ 28 w 347"/>
                  <a:gd name="T1" fmla="*/ 178 h 276"/>
                  <a:gd name="T2" fmla="*/ 38 w 347"/>
                  <a:gd name="T3" fmla="*/ 178 h 276"/>
                  <a:gd name="T4" fmla="*/ 80 w 347"/>
                  <a:gd name="T5" fmla="*/ 168 h 276"/>
                  <a:gd name="T6" fmla="*/ 56 w 347"/>
                  <a:gd name="T7" fmla="*/ 162 h 276"/>
                  <a:gd name="T8" fmla="*/ 67 w 347"/>
                  <a:gd name="T9" fmla="*/ 151 h 276"/>
                  <a:gd name="T10" fmla="*/ 79 w 347"/>
                  <a:gd name="T11" fmla="*/ 147 h 276"/>
                  <a:gd name="T12" fmla="*/ 60 w 347"/>
                  <a:gd name="T13" fmla="*/ 134 h 276"/>
                  <a:gd name="T14" fmla="*/ 55 w 347"/>
                  <a:gd name="T15" fmla="*/ 120 h 276"/>
                  <a:gd name="T16" fmla="*/ 39 w 347"/>
                  <a:gd name="T17" fmla="*/ 110 h 276"/>
                  <a:gd name="T18" fmla="*/ 23 w 347"/>
                  <a:gd name="T19" fmla="*/ 95 h 276"/>
                  <a:gd name="T20" fmla="*/ 50 w 347"/>
                  <a:gd name="T21" fmla="*/ 107 h 276"/>
                  <a:gd name="T22" fmla="*/ 67 w 347"/>
                  <a:gd name="T23" fmla="*/ 112 h 276"/>
                  <a:gd name="T24" fmla="*/ 85 w 347"/>
                  <a:gd name="T25" fmla="*/ 111 h 276"/>
                  <a:gd name="T26" fmla="*/ 98 w 347"/>
                  <a:gd name="T27" fmla="*/ 92 h 276"/>
                  <a:gd name="T28" fmla="*/ 103 w 347"/>
                  <a:gd name="T29" fmla="*/ 77 h 276"/>
                  <a:gd name="T30" fmla="*/ 80 w 347"/>
                  <a:gd name="T31" fmla="*/ 68 h 276"/>
                  <a:gd name="T32" fmla="*/ 73 w 347"/>
                  <a:gd name="T33" fmla="*/ 62 h 276"/>
                  <a:gd name="T34" fmla="*/ 45 w 347"/>
                  <a:gd name="T35" fmla="*/ 62 h 276"/>
                  <a:gd name="T36" fmla="*/ 55 w 347"/>
                  <a:gd name="T37" fmla="*/ 57 h 276"/>
                  <a:gd name="T38" fmla="*/ 69 w 347"/>
                  <a:gd name="T39" fmla="*/ 49 h 276"/>
                  <a:gd name="T40" fmla="*/ 65 w 347"/>
                  <a:gd name="T41" fmla="*/ 34 h 276"/>
                  <a:gd name="T42" fmla="*/ 83 w 347"/>
                  <a:gd name="T43" fmla="*/ 32 h 276"/>
                  <a:gd name="T44" fmla="*/ 112 w 347"/>
                  <a:gd name="T45" fmla="*/ 42 h 276"/>
                  <a:gd name="T46" fmla="*/ 120 w 347"/>
                  <a:gd name="T47" fmla="*/ 30 h 276"/>
                  <a:gd name="T48" fmla="*/ 119 w 347"/>
                  <a:gd name="T49" fmla="*/ 23 h 276"/>
                  <a:gd name="T50" fmla="*/ 113 w 347"/>
                  <a:gd name="T51" fmla="*/ 12 h 276"/>
                  <a:gd name="T52" fmla="*/ 125 w 347"/>
                  <a:gd name="T53" fmla="*/ 18 h 276"/>
                  <a:gd name="T54" fmla="*/ 131 w 347"/>
                  <a:gd name="T55" fmla="*/ 38 h 276"/>
                  <a:gd name="T56" fmla="*/ 129 w 347"/>
                  <a:gd name="T57" fmla="*/ 56 h 276"/>
                  <a:gd name="T58" fmla="*/ 128 w 347"/>
                  <a:gd name="T59" fmla="*/ 79 h 276"/>
                  <a:gd name="T60" fmla="*/ 124 w 347"/>
                  <a:gd name="T61" fmla="*/ 88 h 276"/>
                  <a:gd name="T62" fmla="*/ 116 w 347"/>
                  <a:gd name="T63" fmla="*/ 109 h 276"/>
                  <a:gd name="T64" fmla="*/ 140 w 347"/>
                  <a:gd name="T65" fmla="*/ 100 h 276"/>
                  <a:gd name="T66" fmla="*/ 179 w 347"/>
                  <a:gd name="T67" fmla="*/ 104 h 276"/>
                  <a:gd name="T68" fmla="*/ 197 w 347"/>
                  <a:gd name="T69" fmla="*/ 83 h 276"/>
                  <a:gd name="T70" fmla="*/ 215 w 347"/>
                  <a:gd name="T71" fmla="*/ 93 h 276"/>
                  <a:gd name="T72" fmla="*/ 215 w 347"/>
                  <a:gd name="T73" fmla="*/ 128 h 276"/>
                  <a:gd name="T74" fmla="*/ 239 w 347"/>
                  <a:gd name="T75" fmla="*/ 112 h 276"/>
                  <a:gd name="T76" fmla="*/ 243 w 347"/>
                  <a:gd name="T77" fmla="*/ 113 h 276"/>
                  <a:gd name="T78" fmla="*/ 269 w 347"/>
                  <a:gd name="T79" fmla="*/ 109 h 276"/>
                  <a:gd name="T80" fmla="*/ 279 w 347"/>
                  <a:gd name="T81" fmla="*/ 105 h 276"/>
                  <a:gd name="T82" fmla="*/ 294 w 347"/>
                  <a:gd name="T83" fmla="*/ 90 h 276"/>
                  <a:gd name="T84" fmla="*/ 304 w 347"/>
                  <a:gd name="T85" fmla="*/ 125 h 276"/>
                  <a:gd name="T86" fmla="*/ 334 w 347"/>
                  <a:gd name="T87" fmla="*/ 118 h 276"/>
                  <a:gd name="T88" fmla="*/ 312 w 347"/>
                  <a:gd name="T89" fmla="*/ 132 h 276"/>
                  <a:gd name="T90" fmla="*/ 307 w 347"/>
                  <a:gd name="T91" fmla="*/ 158 h 276"/>
                  <a:gd name="T92" fmla="*/ 319 w 347"/>
                  <a:gd name="T93" fmla="*/ 165 h 276"/>
                  <a:gd name="T94" fmla="*/ 309 w 347"/>
                  <a:gd name="T95" fmla="*/ 179 h 276"/>
                  <a:gd name="T96" fmla="*/ 332 w 347"/>
                  <a:gd name="T97" fmla="*/ 178 h 276"/>
                  <a:gd name="T98" fmla="*/ 316 w 347"/>
                  <a:gd name="T99" fmla="*/ 206 h 276"/>
                  <a:gd name="T100" fmla="*/ 318 w 347"/>
                  <a:gd name="T101" fmla="*/ 229 h 276"/>
                  <a:gd name="T102" fmla="*/ 312 w 347"/>
                  <a:gd name="T103" fmla="*/ 234 h 276"/>
                  <a:gd name="T104" fmla="*/ 295 w 347"/>
                  <a:gd name="T105" fmla="*/ 240 h 276"/>
                  <a:gd name="T106" fmla="*/ 273 w 347"/>
                  <a:gd name="T107" fmla="*/ 254 h 276"/>
                  <a:gd name="T108" fmla="*/ 250 w 347"/>
                  <a:gd name="T109" fmla="*/ 254 h 276"/>
                  <a:gd name="T110" fmla="*/ 227 w 347"/>
                  <a:gd name="T111" fmla="*/ 257 h 276"/>
                  <a:gd name="T112" fmla="*/ 193 w 347"/>
                  <a:gd name="T113" fmla="*/ 259 h 276"/>
                  <a:gd name="T114" fmla="*/ 162 w 347"/>
                  <a:gd name="T115" fmla="*/ 260 h 276"/>
                  <a:gd name="T116" fmla="*/ 99 w 347"/>
                  <a:gd name="T117" fmla="*/ 248 h 276"/>
                  <a:gd name="T118" fmla="*/ 88 w 347"/>
                  <a:gd name="T119" fmla="*/ 219 h 276"/>
                  <a:gd name="T120" fmla="*/ 74 w 347"/>
                  <a:gd name="T121" fmla="*/ 21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7" h="276">
                    <a:moveTo>
                      <a:pt x="61" y="204"/>
                    </a:moveTo>
                    <a:cubicBezTo>
                      <a:pt x="59" y="203"/>
                      <a:pt x="23" y="186"/>
                      <a:pt x="21" y="185"/>
                    </a:cubicBezTo>
                    <a:cubicBezTo>
                      <a:pt x="19" y="183"/>
                      <a:pt x="26" y="181"/>
                      <a:pt x="28" y="178"/>
                    </a:cubicBezTo>
                    <a:cubicBezTo>
                      <a:pt x="30" y="176"/>
                      <a:pt x="28" y="167"/>
                      <a:pt x="31" y="168"/>
                    </a:cubicBezTo>
                    <a:cubicBezTo>
                      <a:pt x="35" y="170"/>
                      <a:pt x="33" y="177"/>
                      <a:pt x="35" y="181"/>
                    </a:cubicBezTo>
                    <a:cubicBezTo>
                      <a:pt x="36" y="182"/>
                      <a:pt x="37" y="178"/>
                      <a:pt x="38" y="178"/>
                    </a:cubicBezTo>
                    <a:cubicBezTo>
                      <a:pt x="43" y="177"/>
                      <a:pt x="48" y="181"/>
                      <a:pt x="52" y="180"/>
                    </a:cubicBezTo>
                    <a:cubicBezTo>
                      <a:pt x="69" y="173"/>
                      <a:pt x="46" y="167"/>
                      <a:pt x="68" y="165"/>
                    </a:cubicBezTo>
                    <a:cubicBezTo>
                      <a:pt x="72" y="165"/>
                      <a:pt x="76" y="168"/>
                      <a:pt x="80" y="168"/>
                    </a:cubicBezTo>
                    <a:cubicBezTo>
                      <a:pt x="82" y="169"/>
                      <a:pt x="75" y="164"/>
                      <a:pt x="73" y="163"/>
                    </a:cubicBezTo>
                    <a:cubicBezTo>
                      <a:pt x="72" y="163"/>
                      <a:pt x="71" y="163"/>
                      <a:pt x="69" y="163"/>
                    </a:cubicBezTo>
                    <a:cubicBezTo>
                      <a:pt x="65" y="163"/>
                      <a:pt x="60" y="164"/>
                      <a:pt x="56" y="162"/>
                    </a:cubicBezTo>
                    <a:cubicBezTo>
                      <a:pt x="54" y="160"/>
                      <a:pt x="63" y="163"/>
                      <a:pt x="65" y="161"/>
                    </a:cubicBezTo>
                    <a:cubicBezTo>
                      <a:pt x="67" y="160"/>
                      <a:pt x="61" y="159"/>
                      <a:pt x="61" y="158"/>
                    </a:cubicBezTo>
                    <a:cubicBezTo>
                      <a:pt x="61" y="155"/>
                      <a:pt x="64" y="152"/>
                      <a:pt x="67" y="151"/>
                    </a:cubicBezTo>
                    <a:cubicBezTo>
                      <a:pt x="68" y="151"/>
                      <a:pt x="71" y="152"/>
                      <a:pt x="73" y="152"/>
                    </a:cubicBezTo>
                    <a:cubicBezTo>
                      <a:pt x="77" y="152"/>
                      <a:pt x="82" y="151"/>
                      <a:pt x="85" y="148"/>
                    </a:cubicBezTo>
                    <a:cubicBezTo>
                      <a:pt x="87" y="147"/>
                      <a:pt x="81" y="148"/>
                      <a:pt x="79" y="147"/>
                    </a:cubicBezTo>
                    <a:cubicBezTo>
                      <a:pt x="77" y="146"/>
                      <a:pt x="63" y="153"/>
                      <a:pt x="59" y="152"/>
                    </a:cubicBezTo>
                    <a:cubicBezTo>
                      <a:pt x="56" y="152"/>
                      <a:pt x="61" y="146"/>
                      <a:pt x="61" y="143"/>
                    </a:cubicBezTo>
                    <a:cubicBezTo>
                      <a:pt x="61" y="140"/>
                      <a:pt x="59" y="137"/>
                      <a:pt x="60" y="134"/>
                    </a:cubicBezTo>
                    <a:cubicBezTo>
                      <a:pt x="60" y="130"/>
                      <a:pt x="67" y="128"/>
                      <a:pt x="65" y="124"/>
                    </a:cubicBezTo>
                    <a:cubicBezTo>
                      <a:pt x="65" y="122"/>
                      <a:pt x="60" y="125"/>
                      <a:pt x="58" y="124"/>
                    </a:cubicBezTo>
                    <a:cubicBezTo>
                      <a:pt x="56" y="124"/>
                      <a:pt x="56" y="119"/>
                      <a:pt x="55" y="120"/>
                    </a:cubicBezTo>
                    <a:cubicBezTo>
                      <a:pt x="54" y="121"/>
                      <a:pt x="56" y="124"/>
                      <a:pt x="55" y="123"/>
                    </a:cubicBezTo>
                    <a:cubicBezTo>
                      <a:pt x="51" y="121"/>
                      <a:pt x="46" y="113"/>
                      <a:pt x="42" y="111"/>
                    </a:cubicBezTo>
                    <a:cubicBezTo>
                      <a:pt x="42" y="109"/>
                      <a:pt x="40" y="110"/>
                      <a:pt x="39" y="110"/>
                    </a:cubicBezTo>
                    <a:cubicBezTo>
                      <a:pt x="38" y="110"/>
                      <a:pt x="37" y="112"/>
                      <a:pt x="36" y="111"/>
                    </a:cubicBezTo>
                    <a:cubicBezTo>
                      <a:pt x="35" y="111"/>
                      <a:pt x="35" y="108"/>
                      <a:pt x="34" y="107"/>
                    </a:cubicBezTo>
                    <a:cubicBezTo>
                      <a:pt x="31" y="106"/>
                      <a:pt x="0" y="106"/>
                      <a:pt x="23" y="95"/>
                    </a:cubicBezTo>
                    <a:cubicBezTo>
                      <a:pt x="29" y="92"/>
                      <a:pt x="28" y="98"/>
                      <a:pt x="34" y="102"/>
                    </a:cubicBezTo>
                    <a:cubicBezTo>
                      <a:pt x="39" y="104"/>
                      <a:pt x="47" y="97"/>
                      <a:pt x="52" y="100"/>
                    </a:cubicBezTo>
                    <a:cubicBezTo>
                      <a:pt x="54" y="101"/>
                      <a:pt x="48" y="105"/>
                      <a:pt x="50" y="107"/>
                    </a:cubicBezTo>
                    <a:cubicBezTo>
                      <a:pt x="52" y="109"/>
                      <a:pt x="53" y="104"/>
                      <a:pt x="55" y="103"/>
                    </a:cubicBezTo>
                    <a:cubicBezTo>
                      <a:pt x="59" y="102"/>
                      <a:pt x="64" y="100"/>
                      <a:pt x="67" y="102"/>
                    </a:cubicBezTo>
                    <a:cubicBezTo>
                      <a:pt x="69" y="104"/>
                      <a:pt x="66" y="109"/>
                      <a:pt x="67" y="112"/>
                    </a:cubicBezTo>
                    <a:cubicBezTo>
                      <a:pt x="67" y="113"/>
                      <a:pt x="67" y="109"/>
                      <a:pt x="67" y="108"/>
                    </a:cubicBezTo>
                    <a:cubicBezTo>
                      <a:pt x="70" y="105"/>
                      <a:pt x="112" y="133"/>
                      <a:pt x="98" y="108"/>
                    </a:cubicBezTo>
                    <a:cubicBezTo>
                      <a:pt x="95" y="105"/>
                      <a:pt x="90" y="111"/>
                      <a:pt x="85" y="111"/>
                    </a:cubicBezTo>
                    <a:cubicBezTo>
                      <a:pt x="80" y="110"/>
                      <a:pt x="76" y="104"/>
                      <a:pt x="74" y="99"/>
                    </a:cubicBezTo>
                    <a:cubicBezTo>
                      <a:pt x="74" y="99"/>
                      <a:pt x="74" y="99"/>
                      <a:pt x="75" y="98"/>
                    </a:cubicBezTo>
                    <a:cubicBezTo>
                      <a:pt x="81" y="94"/>
                      <a:pt x="91" y="92"/>
                      <a:pt x="98" y="92"/>
                    </a:cubicBezTo>
                    <a:cubicBezTo>
                      <a:pt x="102" y="92"/>
                      <a:pt x="106" y="95"/>
                      <a:pt x="108" y="92"/>
                    </a:cubicBezTo>
                    <a:cubicBezTo>
                      <a:pt x="112" y="89"/>
                      <a:pt x="91" y="90"/>
                      <a:pt x="91" y="84"/>
                    </a:cubicBezTo>
                    <a:cubicBezTo>
                      <a:pt x="92" y="80"/>
                      <a:pt x="103" y="82"/>
                      <a:pt x="103" y="77"/>
                    </a:cubicBezTo>
                    <a:cubicBezTo>
                      <a:pt x="102" y="51"/>
                      <a:pt x="83" y="80"/>
                      <a:pt x="82" y="75"/>
                    </a:cubicBezTo>
                    <a:cubicBezTo>
                      <a:pt x="81" y="72"/>
                      <a:pt x="84" y="68"/>
                      <a:pt x="83" y="65"/>
                    </a:cubicBezTo>
                    <a:cubicBezTo>
                      <a:pt x="82" y="64"/>
                      <a:pt x="81" y="68"/>
                      <a:pt x="80" y="68"/>
                    </a:cubicBezTo>
                    <a:cubicBezTo>
                      <a:pt x="78" y="68"/>
                      <a:pt x="81" y="65"/>
                      <a:pt x="80" y="65"/>
                    </a:cubicBezTo>
                    <a:cubicBezTo>
                      <a:pt x="76" y="66"/>
                      <a:pt x="76" y="73"/>
                      <a:pt x="73" y="65"/>
                    </a:cubicBezTo>
                    <a:cubicBezTo>
                      <a:pt x="72" y="65"/>
                      <a:pt x="73" y="62"/>
                      <a:pt x="73" y="62"/>
                    </a:cubicBezTo>
                    <a:cubicBezTo>
                      <a:pt x="71" y="64"/>
                      <a:pt x="71" y="68"/>
                      <a:pt x="68" y="69"/>
                    </a:cubicBezTo>
                    <a:cubicBezTo>
                      <a:pt x="66" y="69"/>
                      <a:pt x="67" y="65"/>
                      <a:pt x="65" y="64"/>
                    </a:cubicBezTo>
                    <a:cubicBezTo>
                      <a:pt x="61" y="63"/>
                      <a:pt x="46" y="71"/>
                      <a:pt x="45" y="62"/>
                    </a:cubicBezTo>
                    <a:cubicBezTo>
                      <a:pt x="45" y="60"/>
                      <a:pt x="48" y="60"/>
                      <a:pt x="48" y="59"/>
                    </a:cubicBezTo>
                    <a:cubicBezTo>
                      <a:pt x="46" y="53"/>
                      <a:pt x="33" y="54"/>
                      <a:pt x="34" y="48"/>
                    </a:cubicBezTo>
                    <a:cubicBezTo>
                      <a:pt x="38" y="25"/>
                      <a:pt x="52" y="59"/>
                      <a:pt x="55" y="57"/>
                    </a:cubicBezTo>
                    <a:cubicBezTo>
                      <a:pt x="63" y="52"/>
                      <a:pt x="46" y="35"/>
                      <a:pt x="57" y="35"/>
                    </a:cubicBezTo>
                    <a:cubicBezTo>
                      <a:pt x="67" y="35"/>
                      <a:pt x="60" y="73"/>
                      <a:pt x="73" y="56"/>
                    </a:cubicBezTo>
                    <a:cubicBezTo>
                      <a:pt x="75" y="53"/>
                      <a:pt x="67" y="51"/>
                      <a:pt x="69" y="49"/>
                    </a:cubicBezTo>
                    <a:cubicBezTo>
                      <a:pt x="71" y="46"/>
                      <a:pt x="77" y="52"/>
                      <a:pt x="80" y="49"/>
                    </a:cubicBezTo>
                    <a:cubicBezTo>
                      <a:pt x="82" y="47"/>
                      <a:pt x="73" y="49"/>
                      <a:pt x="71" y="47"/>
                    </a:cubicBezTo>
                    <a:cubicBezTo>
                      <a:pt x="67" y="44"/>
                      <a:pt x="66" y="39"/>
                      <a:pt x="65" y="34"/>
                    </a:cubicBezTo>
                    <a:cubicBezTo>
                      <a:pt x="63" y="15"/>
                      <a:pt x="76" y="52"/>
                      <a:pt x="81" y="46"/>
                    </a:cubicBezTo>
                    <a:cubicBezTo>
                      <a:pt x="83" y="44"/>
                      <a:pt x="64" y="29"/>
                      <a:pt x="72" y="25"/>
                    </a:cubicBezTo>
                    <a:cubicBezTo>
                      <a:pt x="76" y="23"/>
                      <a:pt x="79" y="34"/>
                      <a:pt x="83" y="32"/>
                    </a:cubicBezTo>
                    <a:cubicBezTo>
                      <a:pt x="85" y="31"/>
                      <a:pt x="72" y="13"/>
                      <a:pt x="89" y="18"/>
                    </a:cubicBezTo>
                    <a:cubicBezTo>
                      <a:pt x="102" y="23"/>
                      <a:pt x="87" y="47"/>
                      <a:pt x="102" y="57"/>
                    </a:cubicBezTo>
                    <a:cubicBezTo>
                      <a:pt x="102" y="57"/>
                      <a:pt x="112" y="53"/>
                      <a:pt x="112" y="42"/>
                    </a:cubicBezTo>
                    <a:cubicBezTo>
                      <a:pt x="112" y="39"/>
                      <a:pt x="109" y="40"/>
                      <a:pt x="108" y="39"/>
                    </a:cubicBezTo>
                    <a:cubicBezTo>
                      <a:pt x="106" y="37"/>
                      <a:pt x="100" y="26"/>
                      <a:pt x="102" y="23"/>
                    </a:cubicBezTo>
                    <a:cubicBezTo>
                      <a:pt x="106" y="18"/>
                      <a:pt x="114" y="27"/>
                      <a:pt x="120" y="30"/>
                    </a:cubicBezTo>
                    <a:cubicBezTo>
                      <a:pt x="121" y="30"/>
                      <a:pt x="115" y="29"/>
                      <a:pt x="115" y="27"/>
                    </a:cubicBezTo>
                    <a:cubicBezTo>
                      <a:pt x="114" y="25"/>
                      <a:pt x="117" y="26"/>
                      <a:pt x="119" y="25"/>
                    </a:cubicBezTo>
                    <a:cubicBezTo>
                      <a:pt x="119" y="25"/>
                      <a:pt x="119" y="23"/>
                      <a:pt x="119" y="23"/>
                    </a:cubicBezTo>
                    <a:cubicBezTo>
                      <a:pt x="111" y="24"/>
                      <a:pt x="112" y="35"/>
                      <a:pt x="103" y="17"/>
                    </a:cubicBezTo>
                    <a:cubicBezTo>
                      <a:pt x="96" y="0"/>
                      <a:pt x="112" y="13"/>
                      <a:pt x="112" y="13"/>
                    </a:cubicBezTo>
                    <a:cubicBezTo>
                      <a:pt x="112" y="13"/>
                      <a:pt x="113" y="12"/>
                      <a:pt x="113" y="12"/>
                    </a:cubicBezTo>
                    <a:cubicBezTo>
                      <a:pt x="113" y="10"/>
                      <a:pt x="112" y="8"/>
                      <a:pt x="113" y="9"/>
                    </a:cubicBezTo>
                    <a:cubicBezTo>
                      <a:pt x="115" y="10"/>
                      <a:pt x="115" y="14"/>
                      <a:pt x="117" y="16"/>
                    </a:cubicBezTo>
                    <a:cubicBezTo>
                      <a:pt x="119" y="17"/>
                      <a:pt x="123" y="17"/>
                      <a:pt x="125" y="18"/>
                    </a:cubicBezTo>
                    <a:cubicBezTo>
                      <a:pt x="131" y="23"/>
                      <a:pt x="123" y="29"/>
                      <a:pt x="123" y="31"/>
                    </a:cubicBezTo>
                    <a:cubicBezTo>
                      <a:pt x="123" y="32"/>
                      <a:pt x="126" y="31"/>
                      <a:pt x="127" y="32"/>
                    </a:cubicBezTo>
                    <a:cubicBezTo>
                      <a:pt x="128" y="32"/>
                      <a:pt x="132" y="36"/>
                      <a:pt x="131" y="38"/>
                    </a:cubicBezTo>
                    <a:cubicBezTo>
                      <a:pt x="129" y="39"/>
                      <a:pt x="127" y="38"/>
                      <a:pt x="127" y="39"/>
                    </a:cubicBezTo>
                    <a:cubicBezTo>
                      <a:pt x="128" y="42"/>
                      <a:pt x="133" y="41"/>
                      <a:pt x="133" y="44"/>
                    </a:cubicBezTo>
                    <a:cubicBezTo>
                      <a:pt x="133" y="48"/>
                      <a:pt x="128" y="52"/>
                      <a:pt x="129" y="56"/>
                    </a:cubicBezTo>
                    <a:cubicBezTo>
                      <a:pt x="130" y="59"/>
                      <a:pt x="138" y="57"/>
                      <a:pt x="138" y="60"/>
                    </a:cubicBezTo>
                    <a:cubicBezTo>
                      <a:pt x="138" y="64"/>
                      <a:pt x="129" y="58"/>
                      <a:pt x="128" y="61"/>
                    </a:cubicBezTo>
                    <a:cubicBezTo>
                      <a:pt x="128" y="64"/>
                      <a:pt x="154" y="75"/>
                      <a:pt x="128" y="79"/>
                    </a:cubicBezTo>
                    <a:cubicBezTo>
                      <a:pt x="123" y="80"/>
                      <a:pt x="121" y="72"/>
                      <a:pt x="117" y="70"/>
                    </a:cubicBezTo>
                    <a:cubicBezTo>
                      <a:pt x="115" y="70"/>
                      <a:pt x="117" y="74"/>
                      <a:pt x="119" y="76"/>
                    </a:cubicBezTo>
                    <a:cubicBezTo>
                      <a:pt x="120" y="80"/>
                      <a:pt x="125" y="84"/>
                      <a:pt x="124" y="88"/>
                    </a:cubicBezTo>
                    <a:cubicBezTo>
                      <a:pt x="123" y="92"/>
                      <a:pt x="114" y="92"/>
                      <a:pt x="114" y="97"/>
                    </a:cubicBezTo>
                    <a:cubicBezTo>
                      <a:pt x="112" y="100"/>
                      <a:pt x="120" y="98"/>
                      <a:pt x="121" y="101"/>
                    </a:cubicBezTo>
                    <a:cubicBezTo>
                      <a:pt x="122" y="104"/>
                      <a:pt x="117" y="107"/>
                      <a:pt x="116" y="109"/>
                    </a:cubicBezTo>
                    <a:cubicBezTo>
                      <a:pt x="115" y="113"/>
                      <a:pt x="111" y="120"/>
                      <a:pt x="115" y="120"/>
                    </a:cubicBezTo>
                    <a:cubicBezTo>
                      <a:pt x="127" y="122"/>
                      <a:pt x="126" y="99"/>
                      <a:pt x="133" y="95"/>
                    </a:cubicBezTo>
                    <a:cubicBezTo>
                      <a:pt x="157" y="82"/>
                      <a:pt x="141" y="98"/>
                      <a:pt x="140" y="100"/>
                    </a:cubicBezTo>
                    <a:cubicBezTo>
                      <a:pt x="137" y="115"/>
                      <a:pt x="154" y="99"/>
                      <a:pt x="155" y="98"/>
                    </a:cubicBezTo>
                    <a:cubicBezTo>
                      <a:pt x="162" y="90"/>
                      <a:pt x="159" y="68"/>
                      <a:pt x="165" y="68"/>
                    </a:cubicBezTo>
                    <a:cubicBezTo>
                      <a:pt x="185" y="70"/>
                      <a:pt x="167" y="95"/>
                      <a:pt x="179" y="104"/>
                    </a:cubicBezTo>
                    <a:cubicBezTo>
                      <a:pt x="188" y="112"/>
                      <a:pt x="183" y="94"/>
                      <a:pt x="185" y="89"/>
                    </a:cubicBezTo>
                    <a:cubicBezTo>
                      <a:pt x="185" y="86"/>
                      <a:pt x="188" y="83"/>
                      <a:pt x="190" y="82"/>
                    </a:cubicBezTo>
                    <a:cubicBezTo>
                      <a:pt x="192" y="81"/>
                      <a:pt x="194" y="82"/>
                      <a:pt x="197" y="83"/>
                    </a:cubicBezTo>
                    <a:cubicBezTo>
                      <a:pt x="197" y="84"/>
                      <a:pt x="197" y="86"/>
                      <a:pt x="198" y="86"/>
                    </a:cubicBezTo>
                    <a:cubicBezTo>
                      <a:pt x="202" y="85"/>
                      <a:pt x="207" y="78"/>
                      <a:pt x="211" y="81"/>
                    </a:cubicBezTo>
                    <a:cubicBezTo>
                      <a:pt x="215" y="82"/>
                      <a:pt x="214" y="89"/>
                      <a:pt x="215" y="93"/>
                    </a:cubicBezTo>
                    <a:cubicBezTo>
                      <a:pt x="215" y="96"/>
                      <a:pt x="211" y="98"/>
                      <a:pt x="212" y="100"/>
                    </a:cubicBezTo>
                    <a:cubicBezTo>
                      <a:pt x="215" y="115"/>
                      <a:pt x="222" y="90"/>
                      <a:pt x="218" y="111"/>
                    </a:cubicBezTo>
                    <a:cubicBezTo>
                      <a:pt x="216" y="123"/>
                      <a:pt x="212" y="117"/>
                      <a:pt x="215" y="128"/>
                    </a:cubicBezTo>
                    <a:cubicBezTo>
                      <a:pt x="219" y="147"/>
                      <a:pt x="219" y="91"/>
                      <a:pt x="225" y="90"/>
                    </a:cubicBezTo>
                    <a:cubicBezTo>
                      <a:pt x="240" y="86"/>
                      <a:pt x="236" y="110"/>
                      <a:pt x="237" y="116"/>
                    </a:cubicBezTo>
                    <a:cubicBezTo>
                      <a:pt x="237" y="117"/>
                      <a:pt x="237" y="113"/>
                      <a:pt x="239" y="112"/>
                    </a:cubicBezTo>
                    <a:cubicBezTo>
                      <a:pt x="239" y="112"/>
                      <a:pt x="241" y="112"/>
                      <a:pt x="241" y="112"/>
                    </a:cubicBezTo>
                    <a:cubicBezTo>
                      <a:pt x="237" y="104"/>
                      <a:pt x="242" y="115"/>
                      <a:pt x="242" y="115"/>
                    </a:cubicBezTo>
                    <a:cubicBezTo>
                      <a:pt x="243" y="115"/>
                      <a:pt x="243" y="113"/>
                      <a:pt x="243" y="113"/>
                    </a:cubicBezTo>
                    <a:cubicBezTo>
                      <a:pt x="246" y="108"/>
                      <a:pt x="252" y="100"/>
                      <a:pt x="258" y="100"/>
                    </a:cubicBezTo>
                    <a:cubicBezTo>
                      <a:pt x="264" y="99"/>
                      <a:pt x="263" y="112"/>
                      <a:pt x="269" y="116"/>
                    </a:cubicBezTo>
                    <a:cubicBezTo>
                      <a:pt x="271" y="117"/>
                      <a:pt x="267" y="111"/>
                      <a:pt x="269" y="109"/>
                    </a:cubicBezTo>
                    <a:cubicBezTo>
                      <a:pt x="273" y="105"/>
                      <a:pt x="275" y="114"/>
                      <a:pt x="275" y="114"/>
                    </a:cubicBezTo>
                    <a:cubicBezTo>
                      <a:pt x="275" y="115"/>
                      <a:pt x="274" y="111"/>
                      <a:pt x="275" y="110"/>
                    </a:cubicBezTo>
                    <a:cubicBezTo>
                      <a:pt x="276" y="108"/>
                      <a:pt x="279" y="107"/>
                      <a:pt x="279" y="105"/>
                    </a:cubicBezTo>
                    <a:cubicBezTo>
                      <a:pt x="280" y="103"/>
                      <a:pt x="279" y="100"/>
                      <a:pt x="279" y="97"/>
                    </a:cubicBezTo>
                    <a:cubicBezTo>
                      <a:pt x="280" y="94"/>
                      <a:pt x="279" y="89"/>
                      <a:pt x="282" y="87"/>
                    </a:cubicBezTo>
                    <a:cubicBezTo>
                      <a:pt x="286" y="86"/>
                      <a:pt x="290" y="89"/>
                      <a:pt x="294" y="90"/>
                    </a:cubicBezTo>
                    <a:cubicBezTo>
                      <a:pt x="304" y="92"/>
                      <a:pt x="296" y="96"/>
                      <a:pt x="297" y="100"/>
                    </a:cubicBezTo>
                    <a:cubicBezTo>
                      <a:pt x="298" y="103"/>
                      <a:pt x="301" y="102"/>
                      <a:pt x="303" y="104"/>
                    </a:cubicBezTo>
                    <a:cubicBezTo>
                      <a:pt x="306" y="112"/>
                      <a:pt x="286" y="115"/>
                      <a:pt x="304" y="125"/>
                    </a:cubicBezTo>
                    <a:cubicBezTo>
                      <a:pt x="306" y="126"/>
                      <a:pt x="306" y="120"/>
                      <a:pt x="309" y="119"/>
                    </a:cubicBezTo>
                    <a:cubicBezTo>
                      <a:pt x="311" y="117"/>
                      <a:pt x="314" y="120"/>
                      <a:pt x="316" y="119"/>
                    </a:cubicBezTo>
                    <a:cubicBezTo>
                      <a:pt x="321" y="117"/>
                      <a:pt x="327" y="104"/>
                      <a:pt x="334" y="118"/>
                    </a:cubicBezTo>
                    <a:cubicBezTo>
                      <a:pt x="335" y="120"/>
                      <a:pt x="329" y="119"/>
                      <a:pt x="326" y="120"/>
                    </a:cubicBezTo>
                    <a:cubicBezTo>
                      <a:pt x="318" y="121"/>
                      <a:pt x="314" y="120"/>
                      <a:pt x="309" y="129"/>
                    </a:cubicBezTo>
                    <a:cubicBezTo>
                      <a:pt x="308" y="130"/>
                      <a:pt x="312" y="130"/>
                      <a:pt x="312" y="132"/>
                    </a:cubicBezTo>
                    <a:cubicBezTo>
                      <a:pt x="312" y="133"/>
                      <a:pt x="309" y="134"/>
                      <a:pt x="310" y="135"/>
                    </a:cubicBezTo>
                    <a:cubicBezTo>
                      <a:pt x="313" y="137"/>
                      <a:pt x="318" y="135"/>
                      <a:pt x="321" y="138"/>
                    </a:cubicBezTo>
                    <a:cubicBezTo>
                      <a:pt x="330" y="145"/>
                      <a:pt x="308" y="157"/>
                      <a:pt x="307" y="158"/>
                    </a:cubicBezTo>
                    <a:cubicBezTo>
                      <a:pt x="306" y="159"/>
                      <a:pt x="309" y="156"/>
                      <a:pt x="311" y="157"/>
                    </a:cubicBezTo>
                    <a:cubicBezTo>
                      <a:pt x="315" y="158"/>
                      <a:pt x="319" y="161"/>
                      <a:pt x="322" y="164"/>
                    </a:cubicBezTo>
                    <a:cubicBezTo>
                      <a:pt x="323" y="164"/>
                      <a:pt x="319" y="164"/>
                      <a:pt x="319" y="165"/>
                    </a:cubicBezTo>
                    <a:cubicBezTo>
                      <a:pt x="319" y="167"/>
                      <a:pt x="322" y="169"/>
                      <a:pt x="322" y="171"/>
                    </a:cubicBezTo>
                    <a:cubicBezTo>
                      <a:pt x="322" y="172"/>
                      <a:pt x="320" y="170"/>
                      <a:pt x="319" y="171"/>
                    </a:cubicBezTo>
                    <a:cubicBezTo>
                      <a:pt x="316" y="173"/>
                      <a:pt x="305" y="177"/>
                      <a:pt x="309" y="179"/>
                    </a:cubicBezTo>
                    <a:cubicBezTo>
                      <a:pt x="314" y="181"/>
                      <a:pt x="318" y="168"/>
                      <a:pt x="322" y="172"/>
                    </a:cubicBezTo>
                    <a:cubicBezTo>
                      <a:pt x="324" y="174"/>
                      <a:pt x="326" y="176"/>
                      <a:pt x="328" y="178"/>
                    </a:cubicBezTo>
                    <a:cubicBezTo>
                      <a:pt x="329" y="179"/>
                      <a:pt x="331" y="177"/>
                      <a:pt x="332" y="178"/>
                    </a:cubicBezTo>
                    <a:cubicBezTo>
                      <a:pt x="335" y="184"/>
                      <a:pt x="338" y="193"/>
                      <a:pt x="331" y="198"/>
                    </a:cubicBezTo>
                    <a:cubicBezTo>
                      <a:pt x="327" y="200"/>
                      <a:pt x="322" y="199"/>
                      <a:pt x="319" y="201"/>
                    </a:cubicBezTo>
                    <a:cubicBezTo>
                      <a:pt x="317" y="202"/>
                      <a:pt x="315" y="205"/>
                      <a:pt x="316" y="206"/>
                    </a:cubicBezTo>
                    <a:cubicBezTo>
                      <a:pt x="318" y="207"/>
                      <a:pt x="347" y="211"/>
                      <a:pt x="324" y="224"/>
                    </a:cubicBezTo>
                    <a:cubicBezTo>
                      <a:pt x="319" y="227"/>
                      <a:pt x="306" y="215"/>
                      <a:pt x="306" y="215"/>
                    </a:cubicBezTo>
                    <a:cubicBezTo>
                      <a:pt x="302" y="210"/>
                      <a:pt x="324" y="224"/>
                      <a:pt x="318" y="229"/>
                    </a:cubicBezTo>
                    <a:cubicBezTo>
                      <a:pt x="316" y="231"/>
                      <a:pt x="311" y="223"/>
                      <a:pt x="308" y="225"/>
                    </a:cubicBezTo>
                    <a:cubicBezTo>
                      <a:pt x="306" y="227"/>
                      <a:pt x="314" y="229"/>
                      <a:pt x="315" y="232"/>
                    </a:cubicBezTo>
                    <a:cubicBezTo>
                      <a:pt x="316" y="233"/>
                      <a:pt x="313" y="234"/>
                      <a:pt x="312" y="234"/>
                    </a:cubicBezTo>
                    <a:cubicBezTo>
                      <a:pt x="306" y="237"/>
                      <a:pt x="300" y="243"/>
                      <a:pt x="296" y="239"/>
                    </a:cubicBezTo>
                    <a:cubicBezTo>
                      <a:pt x="293" y="236"/>
                      <a:pt x="293" y="225"/>
                      <a:pt x="291" y="228"/>
                    </a:cubicBezTo>
                    <a:cubicBezTo>
                      <a:pt x="288" y="231"/>
                      <a:pt x="297" y="236"/>
                      <a:pt x="295" y="240"/>
                    </a:cubicBezTo>
                    <a:cubicBezTo>
                      <a:pt x="293" y="244"/>
                      <a:pt x="286" y="240"/>
                      <a:pt x="283" y="242"/>
                    </a:cubicBezTo>
                    <a:cubicBezTo>
                      <a:pt x="279" y="245"/>
                      <a:pt x="282" y="252"/>
                      <a:pt x="279" y="255"/>
                    </a:cubicBezTo>
                    <a:cubicBezTo>
                      <a:pt x="278" y="257"/>
                      <a:pt x="274" y="254"/>
                      <a:pt x="273" y="254"/>
                    </a:cubicBezTo>
                    <a:cubicBezTo>
                      <a:pt x="269" y="255"/>
                      <a:pt x="266" y="261"/>
                      <a:pt x="262" y="261"/>
                    </a:cubicBezTo>
                    <a:cubicBezTo>
                      <a:pt x="259" y="262"/>
                      <a:pt x="261" y="247"/>
                      <a:pt x="252" y="245"/>
                    </a:cubicBezTo>
                    <a:cubicBezTo>
                      <a:pt x="249" y="244"/>
                      <a:pt x="252" y="251"/>
                      <a:pt x="250" y="254"/>
                    </a:cubicBezTo>
                    <a:cubicBezTo>
                      <a:pt x="250" y="255"/>
                      <a:pt x="248" y="253"/>
                      <a:pt x="247" y="254"/>
                    </a:cubicBezTo>
                    <a:cubicBezTo>
                      <a:pt x="246" y="254"/>
                      <a:pt x="249" y="255"/>
                      <a:pt x="248" y="255"/>
                    </a:cubicBezTo>
                    <a:cubicBezTo>
                      <a:pt x="233" y="258"/>
                      <a:pt x="241" y="254"/>
                      <a:pt x="227" y="257"/>
                    </a:cubicBezTo>
                    <a:cubicBezTo>
                      <a:pt x="220" y="258"/>
                      <a:pt x="214" y="264"/>
                      <a:pt x="206" y="267"/>
                    </a:cubicBezTo>
                    <a:cubicBezTo>
                      <a:pt x="205" y="267"/>
                      <a:pt x="203" y="268"/>
                      <a:pt x="202" y="267"/>
                    </a:cubicBezTo>
                    <a:cubicBezTo>
                      <a:pt x="198" y="266"/>
                      <a:pt x="197" y="259"/>
                      <a:pt x="193" y="259"/>
                    </a:cubicBezTo>
                    <a:cubicBezTo>
                      <a:pt x="189" y="260"/>
                      <a:pt x="190" y="267"/>
                      <a:pt x="188" y="268"/>
                    </a:cubicBezTo>
                    <a:cubicBezTo>
                      <a:pt x="185" y="269"/>
                      <a:pt x="185" y="264"/>
                      <a:pt x="183" y="263"/>
                    </a:cubicBezTo>
                    <a:cubicBezTo>
                      <a:pt x="179" y="262"/>
                      <a:pt x="167" y="262"/>
                      <a:pt x="162" y="260"/>
                    </a:cubicBezTo>
                    <a:cubicBezTo>
                      <a:pt x="154" y="258"/>
                      <a:pt x="154" y="271"/>
                      <a:pt x="152" y="273"/>
                    </a:cubicBezTo>
                    <a:cubicBezTo>
                      <a:pt x="148" y="276"/>
                      <a:pt x="127" y="274"/>
                      <a:pt x="123" y="272"/>
                    </a:cubicBezTo>
                    <a:cubicBezTo>
                      <a:pt x="113" y="269"/>
                      <a:pt x="104" y="253"/>
                      <a:pt x="99" y="248"/>
                    </a:cubicBezTo>
                    <a:cubicBezTo>
                      <a:pt x="92" y="241"/>
                      <a:pt x="86" y="246"/>
                      <a:pt x="82" y="235"/>
                    </a:cubicBezTo>
                    <a:cubicBezTo>
                      <a:pt x="81" y="232"/>
                      <a:pt x="78" y="229"/>
                      <a:pt x="80" y="226"/>
                    </a:cubicBezTo>
                    <a:cubicBezTo>
                      <a:pt x="81" y="222"/>
                      <a:pt x="91" y="220"/>
                      <a:pt x="88" y="219"/>
                    </a:cubicBezTo>
                    <a:cubicBezTo>
                      <a:pt x="85" y="217"/>
                      <a:pt x="82" y="228"/>
                      <a:pt x="79" y="225"/>
                    </a:cubicBezTo>
                    <a:cubicBezTo>
                      <a:pt x="76" y="223"/>
                      <a:pt x="83" y="216"/>
                      <a:pt x="81" y="212"/>
                    </a:cubicBezTo>
                    <a:cubicBezTo>
                      <a:pt x="80" y="210"/>
                      <a:pt x="77" y="218"/>
                      <a:pt x="74" y="216"/>
                    </a:cubicBezTo>
                    <a:cubicBezTo>
                      <a:pt x="71" y="214"/>
                      <a:pt x="71" y="208"/>
                      <a:pt x="67" y="206"/>
                    </a:cubicBezTo>
                    <a:cubicBezTo>
                      <a:pt x="65" y="204"/>
                      <a:pt x="63" y="205"/>
                      <a:pt x="61" y="20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26" name="Freeform 16"/>
              <p:cNvSpPr>
                <a:spLocks/>
              </p:cNvSpPr>
              <p:nvPr/>
            </p:nvSpPr>
            <p:spPr bwMode="auto">
              <a:xfrm>
                <a:off x="6059822" y="3686020"/>
                <a:ext cx="684209" cy="700870"/>
              </a:xfrm>
              <a:custGeom>
                <a:avLst/>
                <a:gdLst>
                  <a:gd name="T0" fmla="*/ 46 w 409"/>
                  <a:gd name="T1" fmla="*/ 378 h 389"/>
                  <a:gd name="T2" fmla="*/ 59 w 409"/>
                  <a:gd name="T3" fmla="*/ 381 h 389"/>
                  <a:gd name="T4" fmla="*/ 89 w 409"/>
                  <a:gd name="T5" fmla="*/ 352 h 389"/>
                  <a:gd name="T6" fmla="*/ 117 w 409"/>
                  <a:gd name="T7" fmla="*/ 342 h 389"/>
                  <a:gd name="T8" fmla="*/ 150 w 409"/>
                  <a:gd name="T9" fmla="*/ 336 h 389"/>
                  <a:gd name="T10" fmla="*/ 198 w 409"/>
                  <a:gd name="T11" fmla="*/ 335 h 389"/>
                  <a:gd name="T12" fmla="*/ 208 w 409"/>
                  <a:gd name="T13" fmla="*/ 341 h 389"/>
                  <a:gd name="T14" fmla="*/ 218 w 409"/>
                  <a:gd name="T15" fmla="*/ 341 h 389"/>
                  <a:gd name="T16" fmla="*/ 231 w 409"/>
                  <a:gd name="T17" fmla="*/ 350 h 389"/>
                  <a:gd name="T18" fmla="*/ 245 w 409"/>
                  <a:gd name="T19" fmla="*/ 339 h 389"/>
                  <a:gd name="T20" fmla="*/ 258 w 409"/>
                  <a:gd name="T21" fmla="*/ 338 h 389"/>
                  <a:gd name="T22" fmla="*/ 277 w 409"/>
                  <a:gd name="T23" fmla="*/ 342 h 389"/>
                  <a:gd name="T24" fmla="*/ 291 w 409"/>
                  <a:gd name="T25" fmla="*/ 321 h 389"/>
                  <a:gd name="T26" fmla="*/ 317 w 409"/>
                  <a:gd name="T27" fmla="*/ 324 h 389"/>
                  <a:gd name="T28" fmla="*/ 339 w 409"/>
                  <a:gd name="T29" fmla="*/ 319 h 389"/>
                  <a:gd name="T30" fmla="*/ 352 w 409"/>
                  <a:gd name="T31" fmla="*/ 307 h 389"/>
                  <a:gd name="T32" fmla="*/ 362 w 409"/>
                  <a:gd name="T33" fmla="*/ 265 h 389"/>
                  <a:gd name="T34" fmla="*/ 378 w 409"/>
                  <a:gd name="T35" fmla="*/ 258 h 389"/>
                  <a:gd name="T36" fmla="*/ 395 w 409"/>
                  <a:gd name="T37" fmla="*/ 248 h 389"/>
                  <a:gd name="T38" fmla="*/ 384 w 409"/>
                  <a:gd name="T39" fmla="*/ 236 h 389"/>
                  <a:gd name="T40" fmla="*/ 381 w 409"/>
                  <a:gd name="T41" fmla="*/ 223 h 389"/>
                  <a:gd name="T42" fmla="*/ 374 w 409"/>
                  <a:gd name="T43" fmla="*/ 210 h 389"/>
                  <a:gd name="T44" fmla="*/ 355 w 409"/>
                  <a:gd name="T45" fmla="*/ 180 h 389"/>
                  <a:gd name="T46" fmla="*/ 400 w 409"/>
                  <a:gd name="T47" fmla="*/ 159 h 389"/>
                  <a:gd name="T48" fmla="*/ 408 w 409"/>
                  <a:gd name="T49" fmla="*/ 151 h 389"/>
                  <a:gd name="T50" fmla="*/ 390 w 409"/>
                  <a:gd name="T51" fmla="*/ 137 h 389"/>
                  <a:gd name="T52" fmla="*/ 367 w 409"/>
                  <a:gd name="T53" fmla="*/ 129 h 389"/>
                  <a:gd name="T54" fmla="*/ 354 w 409"/>
                  <a:gd name="T55" fmla="*/ 112 h 389"/>
                  <a:gd name="T56" fmla="*/ 313 w 409"/>
                  <a:gd name="T57" fmla="*/ 92 h 389"/>
                  <a:gd name="T58" fmla="*/ 295 w 409"/>
                  <a:gd name="T59" fmla="*/ 74 h 389"/>
                  <a:gd name="T60" fmla="*/ 299 w 409"/>
                  <a:gd name="T61" fmla="*/ 53 h 389"/>
                  <a:gd name="T62" fmla="*/ 283 w 409"/>
                  <a:gd name="T63" fmla="*/ 15 h 389"/>
                  <a:gd name="T64" fmla="*/ 258 w 409"/>
                  <a:gd name="T65" fmla="*/ 6 h 389"/>
                  <a:gd name="T66" fmla="*/ 236 w 409"/>
                  <a:gd name="T67" fmla="*/ 9 h 389"/>
                  <a:gd name="T68" fmla="*/ 216 w 409"/>
                  <a:gd name="T69" fmla="*/ 7 h 389"/>
                  <a:gd name="T70" fmla="*/ 182 w 409"/>
                  <a:gd name="T71" fmla="*/ 7 h 389"/>
                  <a:gd name="T72" fmla="*/ 149 w 409"/>
                  <a:gd name="T73" fmla="*/ 20 h 389"/>
                  <a:gd name="T74" fmla="*/ 134 w 409"/>
                  <a:gd name="T75" fmla="*/ 38 h 389"/>
                  <a:gd name="T76" fmla="*/ 126 w 409"/>
                  <a:gd name="T77" fmla="*/ 40 h 389"/>
                  <a:gd name="T78" fmla="*/ 108 w 409"/>
                  <a:gd name="T79" fmla="*/ 58 h 389"/>
                  <a:gd name="T80" fmla="*/ 123 w 409"/>
                  <a:gd name="T81" fmla="*/ 85 h 389"/>
                  <a:gd name="T82" fmla="*/ 118 w 409"/>
                  <a:gd name="T83" fmla="*/ 97 h 389"/>
                  <a:gd name="T84" fmla="*/ 101 w 409"/>
                  <a:gd name="T85" fmla="*/ 112 h 389"/>
                  <a:gd name="T86" fmla="*/ 86 w 409"/>
                  <a:gd name="T87" fmla="*/ 130 h 389"/>
                  <a:gd name="T88" fmla="*/ 86 w 409"/>
                  <a:gd name="T89" fmla="*/ 164 h 389"/>
                  <a:gd name="T90" fmla="*/ 87 w 409"/>
                  <a:gd name="T91" fmla="*/ 177 h 389"/>
                  <a:gd name="T92" fmla="*/ 73 w 409"/>
                  <a:gd name="T93" fmla="*/ 174 h 389"/>
                  <a:gd name="T94" fmla="*/ 58 w 409"/>
                  <a:gd name="T95" fmla="*/ 188 h 389"/>
                  <a:gd name="T96" fmla="*/ 52 w 409"/>
                  <a:gd name="T97" fmla="*/ 199 h 389"/>
                  <a:gd name="T98" fmla="*/ 33 w 409"/>
                  <a:gd name="T99" fmla="*/ 205 h 389"/>
                  <a:gd name="T100" fmla="*/ 42 w 409"/>
                  <a:gd name="T101" fmla="*/ 298 h 389"/>
                  <a:gd name="T102" fmla="*/ 17 w 409"/>
                  <a:gd name="T103" fmla="*/ 341 h 389"/>
                  <a:gd name="T104" fmla="*/ 35 w 409"/>
                  <a:gd name="T105" fmla="*/ 345 h 389"/>
                  <a:gd name="T106" fmla="*/ 43 w 409"/>
                  <a:gd name="T107" fmla="*/ 389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9" h="389">
                    <a:moveTo>
                      <a:pt x="43" y="388"/>
                    </a:moveTo>
                    <a:cubicBezTo>
                      <a:pt x="50" y="386"/>
                      <a:pt x="36" y="381"/>
                      <a:pt x="46" y="378"/>
                    </a:cubicBezTo>
                    <a:cubicBezTo>
                      <a:pt x="48" y="377"/>
                      <a:pt x="52" y="377"/>
                      <a:pt x="56" y="378"/>
                    </a:cubicBezTo>
                    <a:cubicBezTo>
                      <a:pt x="57" y="378"/>
                      <a:pt x="57" y="381"/>
                      <a:pt x="59" y="381"/>
                    </a:cubicBezTo>
                    <a:cubicBezTo>
                      <a:pt x="64" y="383"/>
                      <a:pt x="72" y="356"/>
                      <a:pt x="74" y="355"/>
                    </a:cubicBezTo>
                    <a:cubicBezTo>
                      <a:pt x="79" y="352"/>
                      <a:pt x="85" y="354"/>
                      <a:pt x="89" y="352"/>
                    </a:cubicBezTo>
                    <a:cubicBezTo>
                      <a:pt x="96" y="349"/>
                      <a:pt x="101" y="343"/>
                      <a:pt x="108" y="341"/>
                    </a:cubicBezTo>
                    <a:cubicBezTo>
                      <a:pt x="111" y="341"/>
                      <a:pt x="114" y="342"/>
                      <a:pt x="117" y="342"/>
                    </a:cubicBezTo>
                    <a:cubicBezTo>
                      <a:pt x="120" y="342"/>
                      <a:pt x="123" y="342"/>
                      <a:pt x="125" y="342"/>
                    </a:cubicBezTo>
                    <a:cubicBezTo>
                      <a:pt x="134" y="341"/>
                      <a:pt x="142" y="335"/>
                      <a:pt x="150" y="336"/>
                    </a:cubicBezTo>
                    <a:cubicBezTo>
                      <a:pt x="151" y="336"/>
                      <a:pt x="152" y="338"/>
                      <a:pt x="154" y="339"/>
                    </a:cubicBezTo>
                    <a:cubicBezTo>
                      <a:pt x="168" y="341"/>
                      <a:pt x="185" y="339"/>
                      <a:pt x="198" y="335"/>
                    </a:cubicBezTo>
                    <a:cubicBezTo>
                      <a:pt x="205" y="334"/>
                      <a:pt x="200" y="339"/>
                      <a:pt x="203" y="342"/>
                    </a:cubicBezTo>
                    <a:cubicBezTo>
                      <a:pt x="205" y="343"/>
                      <a:pt x="207" y="340"/>
                      <a:pt x="208" y="341"/>
                    </a:cubicBezTo>
                    <a:cubicBezTo>
                      <a:pt x="209" y="342"/>
                      <a:pt x="206" y="346"/>
                      <a:pt x="207" y="346"/>
                    </a:cubicBezTo>
                    <a:cubicBezTo>
                      <a:pt x="222" y="352"/>
                      <a:pt x="211" y="343"/>
                      <a:pt x="218" y="341"/>
                    </a:cubicBezTo>
                    <a:cubicBezTo>
                      <a:pt x="241" y="335"/>
                      <a:pt x="220" y="345"/>
                      <a:pt x="228" y="349"/>
                    </a:cubicBezTo>
                    <a:cubicBezTo>
                      <a:pt x="229" y="350"/>
                      <a:pt x="231" y="351"/>
                      <a:pt x="231" y="350"/>
                    </a:cubicBezTo>
                    <a:cubicBezTo>
                      <a:pt x="234" y="349"/>
                      <a:pt x="231" y="338"/>
                      <a:pt x="234" y="338"/>
                    </a:cubicBezTo>
                    <a:cubicBezTo>
                      <a:pt x="237" y="338"/>
                      <a:pt x="242" y="343"/>
                      <a:pt x="245" y="339"/>
                    </a:cubicBezTo>
                    <a:cubicBezTo>
                      <a:pt x="248" y="337"/>
                      <a:pt x="248" y="328"/>
                      <a:pt x="251" y="330"/>
                    </a:cubicBezTo>
                    <a:cubicBezTo>
                      <a:pt x="256" y="333"/>
                      <a:pt x="244" y="338"/>
                      <a:pt x="258" y="338"/>
                    </a:cubicBezTo>
                    <a:cubicBezTo>
                      <a:pt x="263" y="338"/>
                      <a:pt x="260" y="327"/>
                      <a:pt x="268" y="333"/>
                    </a:cubicBezTo>
                    <a:cubicBezTo>
                      <a:pt x="283" y="343"/>
                      <a:pt x="265" y="339"/>
                      <a:pt x="277" y="342"/>
                    </a:cubicBezTo>
                    <a:cubicBezTo>
                      <a:pt x="280" y="343"/>
                      <a:pt x="276" y="334"/>
                      <a:pt x="278" y="332"/>
                    </a:cubicBezTo>
                    <a:cubicBezTo>
                      <a:pt x="281" y="327"/>
                      <a:pt x="287" y="319"/>
                      <a:pt x="291" y="321"/>
                    </a:cubicBezTo>
                    <a:cubicBezTo>
                      <a:pt x="296" y="324"/>
                      <a:pt x="300" y="339"/>
                      <a:pt x="305" y="338"/>
                    </a:cubicBezTo>
                    <a:cubicBezTo>
                      <a:pt x="313" y="336"/>
                      <a:pt x="308" y="326"/>
                      <a:pt x="317" y="324"/>
                    </a:cubicBezTo>
                    <a:cubicBezTo>
                      <a:pt x="320" y="324"/>
                      <a:pt x="323" y="328"/>
                      <a:pt x="326" y="327"/>
                    </a:cubicBezTo>
                    <a:cubicBezTo>
                      <a:pt x="344" y="324"/>
                      <a:pt x="313" y="317"/>
                      <a:pt x="339" y="319"/>
                    </a:cubicBezTo>
                    <a:cubicBezTo>
                      <a:pt x="352" y="320"/>
                      <a:pt x="345" y="334"/>
                      <a:pt x="360" y="331"/>
                    </a:cubicBezTo>
                    <a:cubicBezTo>
                      <a:pt x="374" y="328"/>
                      <a:pt x="352" y="313"/>
                      <a:pt x="352" y="307"/>
                    </a:cubicBezTo>
                    <a:cubicBezTo>
                      <a:pt x="352" y="302"/>
                      <a:pt x="353" y="291"/>
                      <a:pt x="353" y="287"/>
                    </a:cubicBezTo>
                    <a:cubicBezTo>
                      <a:pt x="356" y="272"/>
                      <a:pt x="360" y="266"/>
                      <a:pt x="362" y="265"/>
                    </a:cubicBezTo>
                    <a:cubicBezTo>
                      <a:pt x="366" y="264"/>
                      <a:pt x="371" y="266"/>
                      <a:pt x="374" y="264"/>
                    </a:cubicBezTo>
                    <a:cubicBezTo>
                      <a:pt x="377" y="263"/>
                      <a:pt x="375" y="259"/>
                      <a:pt x="378" y="258"/>
                    </a:cubicBezTo>
                    <a:cubicBezTo>
                      <a:pt x="383" y="255"/>
                      <a:pt x="390" y="255"/>
                      <a:pt x="396" y="253"/>
                    </a:cubicBezTo>
                    <a:cubicBezTo>
                      <a:pt x="395" y="252"/>
                      <a:pt x="396" y="250"/>
                      <a:pt x="395" y="248"/>
                    </a:cubicBezTo>
                    <a:cubicBezTo>
                      <a:pt x="395" y="248"/>
                      <a:pt x="383" y="241"/>
                      <a:pt x="383" y="240"/>
                    </a:cubicBezTo>
                    <a:cubicBezTo>
                      <a:pt x="382" y="239"/>
                      <a:pt x="384" y="238"/>
                      <a:pt x="384" y="236"/>
                    </a:cubicBezTo>
                    <a:cubicBezTo>
                      <a:pt x="382" y="233"/>
                      <a:pt x="378" y="230"/>
                      <a:pt x="378" y="227"/>
                    </a:cubicBezTo>
                    <a:cubicBezTo>
                      <a:pt x="377" y="225"/>
                      <a:pt x="381" y="225"/>
                      <a:pt x="381" y="223"/>
                    </a:cubicBezTo>
                    <a:cubicBezTo>
                      <a:pt x="379" y="219"/>
                      <a:pt x="371" y="219"/>
                      <a:pt x="371" y="214"/>
                    </a:cubicBezTo>
                    <a:cubicBezTo>
                      <a:pt x="370" y="213"/>
                      <a:pt x="374" y="212"/>
                      <a:pt x="374" y="210"/>
                    </a:cubicBezTo>
                    <a:cubicBezTo>
                      <a:pt x="376" y="204"/>
                      <a:pt x="356" y="200"/>
                      <a:pt x="354" y="195"/>
                    </a:cubicBezTo>
                    <a:cubicBezTo>
                      <a:pt x="352" y="191"/>
                      <a:pt x="356" y="185"/>
                      <a:pt x="355" y="180"/>
                    </a:cubicBezTo>
                    <a:cubicBezTo>
                      <a:pt x="355" y="171"/>
                      <a:pt x="382" y="183"/>
                      <a:pt x="390" y="178"/>
                    </a:cubicBezTo>
                    <a:cubicBezTo>
                      <a:pt x="395" y="175"/>
                      <a:pt x="400" y="165"/>
                      <a:pt x="400" y="159"/>
                    </a:cubicBezTo>
                    <a:cubicBezTo>
                      <a:pt x="400" y="158"/>
                      <a:pt x="397" y="159"/>
                      <a:pt x="398" y="158"/>
                    </a:cubicBezTo>
                    <a:cubicBezTo>
                      <a:pt x="401" y="156"/>
                      <a:pt x="406" y="154"/>
                      <a:pt x="408" y="151"/>
                    </a:cubicBezTo>
                    <a:cubicBezTo>
                      <a:pt x="409" y="149"/>
                      <a:pt x="408" y="144"/>
                      <a:pt x="405" y="143"/>
                    </a:cubicBezTo>
                    <a:cubicBezTo>
                      <a:pt x="396" y="139"/>
                      <a:pt x="395" y="143"/>
                      <a:pt x="390" y="137"/>
                    </a:cubicBezTo>
                    <a:cubicBezTo>
                      <a:pt x="388" y="135"/>
                      <a:pt x="394" y="127"/>
                      <a:pt x="387" y="128"/>
                    </a:cubicBezTo>
                    <a:cubicBezTo>
                      <a:pt x="381" y="128"/>
                      <a:pt x="377" y="126"/>
                      <a:pt x="367" y="129"/>
                    </a:cubicBezTo>
                    <a:cubicBezTo>
                      <a:pt x="364" y="130"/>
                      <a:pt x="361" y="133"/>
                      <a:pt x="357" y="132"/>
                    </a:cubicBezTo>
                    <a:cubicBezTo>
                      <a:pt x="354" y="131"/>
                      <a:pt x="360" y="115"/>
                      <a:pt x="354" y="112"/>
                    </a:cubicBezTo>
                    <a:cubicBezTo>
                      <a:pt x="353" y="111"/>
                      <a:pt x="335" y="111"/>
                      <a:pt x="330" y="107"/>
                    </a:cubicBezTo>
                    <a:cubicBezTo>
                      <a:pt x="321" y="101"/>
                      <a:pt x="326" y="96"/>
                      <a:pt x="313" y="92"/>
                    </a:cubicBezTo>
                    <a:cubicBezTo>
                      <a:pt x="311" y="90"/>
                      <a:pt x="317" y="81"/>
                      <a:pt x="314" y="80"/>
                    </a:cubicBezTo>
                    <a:cubicBezTo>
                      <a:pt x="306" y="80"/>
                      <a:pt x="304" y="80"/>
                      <a:pt x="295" y="74"/>
                    </a:cubicBezTo>
                    <a:cubicBezTo>
                      <a:pt x="291" y="71"/>
                      <a:pt x="298" y="59"/>
                      <a:pt x="297" y="57"/>
                    </a:cubicBezTo>
                    <a:cubicBezTo>
                      <a:pt x="293" y="52"/>
                      <a:pt x="301" y="56"/>
                      <a:pt x="299" y="53"/>
                    </a:cubicBezTo>
                    <a:cubicBezTo>
                      <a:pt x="297" y="50"/>
                      <a:pt x="284" y="39"/>
                      <a:pt x="284" y="36"/>
                    </a:cubicBezTo>
                    <a:cubicBezTo>
                      <a:pt x="287" y="28"/>
                      <a:pt x="288" y="23"/>
                      <a:pt x="283" y="15"/>
                    </a:cubicBezTo>
                    <a:cubicBezTo>
                      <a:pt x="282" y="12"/>
                      <a:pt x="279" y="17"/>
                      <a:pt x="276" y="17"/>
                    </a:cubicBezTo>
                    <a:cubicBezTo>
                      <a:pt x="276" y="17"/>
                      <a:pt x="258" y="6"/>
                      <a:pt x="258" y="6"/>
                    </a:cubicBezTo>
                    <a:cubicBezTo>
                      <a:pt x="244" y="0"/>
                      <a:pt x="254" y="4"/>
                      <a:pt x="246" y="8"/>
                    </a:cubicBezTo>
                    <a:cubicBezTo>
                      <a:pt x="245" y="8"/>
                      <a:pt x="238" y="7"/>
                      <a:pt x="236" y="9"/>
                    </a:cubicBezTo>
                    <a:cubicBezTo>
                      <a:pt x="233" y="13"/>
                      <a:pt x="229" y="24"/>
                      <a:pt x="224" y="26"/>
                    </a:cubicBezTo>
                    <a:cubicBezTo>
                      <a:pt x="215" y="31"/>
                      <a:pt x="216" y="7"/>
                      <a:pt x="216" y="7"/>
                    </a:cubicBezTo>
                    <a:cubicBezTo>
                      <a:pt x="198" y="3"/>
                      <a:pt x="202" y="6"/>
                      <a:pt x="190" y="15"/>
                    </a:cubicBezTo>
                    <a:cubicBezTo>
                      <a:pt x="187" y="17"/>
                      <a:pt x="185" y="9"/>
                      <a:pt x="182" y="7"/>
                    </a:cubicBezTo>
                    <a:cubicBezTo>
                      <a:pt x="172" y="0"/>
                      <a:pt x="175" y="19"/>
                      <a:pt x="161" y="7"/>
                    </a:cubicBezTo>
                    <a:cubicBezTo>
                      <a:pt x="161" y="8"/>
                      <a:pt x="150" y="16"/>
                      <a:pt x="149" y="20"/>
                    </a:cubicBezTo>
                    <a:cubicBezTo>
                      <a:pt x="148" y="21"/>
                      <a:pt x="145" y="38"/>
                      <a:pt x="145" y="38"/>
                    </a:cubicBezTo>
                    <a:cubicBezTo>
                      <a:pt x="142" y="41"/>
                      <a:pt x="138" y="37"/>
                      <a:pt x="134" y="38"/>
                    </a:cubicBezTo>
                    <a:cubicBezTo>
                      <a:pt x="133" y="39"/>
                      <a:pt x="134" y="43"/>
                      <a:pt x="133" y="43"/>
                    </a:cubicBezTo>
                    <a:cubicBezTo>
                      <a:pt x="130" y="43"/>
                      <a:pt x="129" y="40"/>
                      <a:pt x="126" y="40"/>
                    </a:cubicBezTo>
                    <a:cubicBezTo>
                      <a:pt x="119" y="39"/>
                      <a:pt x="117" y="55"/>
                      <a:pt x="108" y="58"/>
                    </a:cubicBezTo>
                    <a:cubicBezTo>
                      <a:pt x="108" y="58"/>
                      <a:pt x="108" y="58"/>
                      <a:pt x="108" y="58"/>
                    </a:cubicBezTo>
                    <a:cubicBezTo>
                      <a:pt x="111" y="67"/>
                      <a:pt x="107" y="74"/>
                      <a:pt x="107" y="83"/>
                    </a:cubicBezTo>
                    <a:cubicBezTo>
                      <a:pt x="106" y="88"/>
                      <a:pt x="125" y="77"/>
                      <a:pt x="123" y="85"/>
                    </a:cubicBezTo>
                    <a:cubicBezTo>
                      <a:pt x="122" y="87"/>
                      <a:pt x="119" y="87"/>
                      <a:pt x="118" y="89"/>
                    </a:cubicBezTo>
                    <a:cubicBezTo>
                      <a:pt x="117" y="91"/>
                      <a:pt x="120" y="94"/>
                      <a:pt x="118" y="97"/>
                    </a:cubicBezTo>
                    <a:cubicBezTo>
                      <a:pt x="115" y="101"/>
                      <a:pt x="106" y="95"/>
                      <a:pt x="103" y="99"/>
                    </a:cubicBezTo>
                    <a:cubicBezTo>
                      <a:pt x="101" y="103"/>
                      <a:pt x="104" y="109"/>
                      <a:pt x="101" y="112"/>
                    </a:cubicBezTo>
                    <a:cubicBezTo>
                      <a:pt x="90" y="129"/>
                      <a:pt x="95" y="107"/>
                      <a:pt x="89" y="128"/>
                    </a:cubicBezTo>
                    <a:cubicBezTo>
                      <a:pt x="89" y="129"/>
                      <a:pt x="86" y="129"/>
                      <a:pt x="86" y="130"/>
                    </a:cubicBezTo>
                    <a:cubicBezTo>
                      <a:pt x="91" y="145"/>
                      <a:pt x="91" y="145"/>
                      <a:pt x="91" y="145"/>
                    </a:cubicBezTo>
                    <a:cubicBezTo>
                      <a:pt x="91" y="146"/>
                      <a:pt x="86" y="162"/>
                      <a:pt x="86" y="164"/>
                    </a:cubicBezTo>
                    <a:cubicBezTo>
                      <a:pt x="86" y="166"/>
                      <a:pt x="104" y="163"/>
                      <a:pt x="99" y="175"/>
                    </a:cubicBezTo>
                    <a:cubicBezTo>
                      <a:pt x="98" y="178"/>
                      <a:pt x="86" y="182"/>
                      <a:pt x="87" y="177"/>
                    </a:cubicBezTo>
                    <a:cubicBezTo>
                      <a:pt x="87" y="175"/>
                      <a:pt x="90" y="174"/>
                      <a:pt x="89" y="173"/>
                    </a:cubicBezTo>
                    <a:cubicBezTo>
                      <a:pt x="88" y="165"/>
                      <a:pt x="75" y="171"/>
                      <a:pt x="73" y="174"/>
                    </a:cubicBezTo>
                    <a:cubicBezTo>
                      <a:pt x="67" y="180"/>
                      <a:pt x="79" y="179"/>
                      <a:pt x="70" y="184"/>
                    </a:cubicBezTo>
                    <a:cubicBezTo>
                      <a:pt x="66" y="186"/>
                      <a:pt x="61" y="185"/>
                      <a:pt x="58" y="188"/>
                    </a:cubicBezTo>
                    <a:cubicBezTo>
                      <a:pt x="56" y="191"/>
                      <a:pt x="64" y="197"/>
                      <a:pt x="61" y="198"/>
                    </a:cubicBezTo>
                    <a:cubicBezTo>
                      <a:pt x="58" y="199"/>
                      <a:pt x="55" y="197"/>
                      <a:pt x="52" y="199"/>
                    </a:cubicBezTo>
                    <a:cubicBezTo>
                      <a:pt x="48" y="201"/>
                      <a:pt x="48" y="206"/>
                      <a:pt x="44" y="209"/>
                    </a:cubicBezTo>
                    <a:cubicBezTo>
                      <a:pt x="39" y="213"/>
                      <a:pt x="37" y="203"/>
                      <a:pt x="33" y="205"/>
                    </a:cubicBezTo>
                    <a:cubicBezTo>
                      <a:pt x="28" y="207"/>
                      <a:pt x="12" y="216"/>
                      <a:pt x="5" y="212"/>
                    </a:cubicBezTo>
                    <a:cubicBezTo>
                      <a:pt x="15" y="240"/>
                      <a:pt x="40" y="267"/>
                      <a:pt x="42" y="298"/>
                    </a:cubicBezTo>
                    <a:cubicBezTo>
                      <a:pt x="42" y="299"/>
                      <a:pt x="40" y="300"/>
                      <a:pt x="40" y="301"/>
                    </a:cubicBezTo>
                    <a:cubicBezTo>
                      <a:pt x="36" y="305"/>
                      <a:pt x="0" y="335"/>
                      <a:pt x="17" y="341"/>
                    </a:cubicBezTo>
                    <a:cubicBezTo>
                      <a:pt x="18" y="342"/>
                      <a:pt x="19" y="339"/>
                      <a:pt x="20" y="339"/>
                    </a:cubicBezTo>
                    <a:cubicBezTo>
                      <a:pt x="25" y="340"/>
                      <a:pt x="31" y="342"/>
                      <a:pt x="35" y="345"/>
                    </a:cubicBezTo>
                    <a:cubicBezTo>
                      <a:pt x="47" y="354"/>
                      <a:pt x="35" y="373"/>
                      <a:pt x="39" y="384"/>
                    </a:cubicBezTo>
                    <a:cubicBezTo>
                      <a:pt x="40" y="385"/>
                      <a:pt x="42" y="387"/>
                      <a:pt x="43" y="389"/>
                    </a:cubicBezTo>
                    <a:lnTo>
                      <a:pt x="43" y="3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27" name="Freeform 15"/>
              <p:cNvSpPr>
                <a:spLocks/>
              </p:cNvSpPr>
              <p:nvPr/>
            </p:nvSpPr>
            <p:spPr bwMode="auto">
              <a:xfrm>
                <a:off x="7899189" y="2062869"/>
                <a:ext cx="1055932" cy="2516760"/>
              </a:xfrm>
              <a:custGeom>
                <a:avLst/>
                <a:gdLst>
                  <a:gd name="T0" fmla="*/ 610 w 631"/>
                  <a:gd name="T1" fmla="*/ 53 h 1398"/>
                  <a:gd name="T2" fmla="*/ 558 w 631"/>
                  <a:gd name="T3" fmla="*/ 20 h 1398"/>
                  <a:gd name="T4" fmla="*/ 526 w 631"/>
                  <a:gd name="T5" fmla="*/ 33 h 1398"/>
                  <a:gd name="T6" fmla="*/ 486 w 631"/>
                  <a:gd name="T7" fmla="*/ 66 h 1398"/>
                  <a:gd name="T8" fmla="*/ 475 w 631"/>
                  <a:gd name="T9" fmla="*/ 99 h 1398"/>
                  <a:gd name="T10" fmla="*/ 453 w 631"/>
                  <a:gd name="T11" fmla="*/ 174 h 1398"/>
                  <a:gd name="T12" fmla="*/ 429 w 631"/>
                  <a:gd name="T13" fmla="*/ 211 h 1398"/>
                  <a:gd name="T14" fmla="*/ 417 w 631"/>
                  <a:gd name="T15" fmla="*/ 253 h 1398"/>
                  <a:gd name="T16" fmla="*/ 393 w 631"/>
                  <a:gd name="T17" fmla="*/ 302 h 1398"/>
                  <a:gd name="T18" fmla="*/ 383 w 631"/>
                  <a:gd name="T19" fmla="*/ 343 h 1398"/>
                  <a:gd name="T20" fmla="*/ 358 w 631"/>
                  <a:gd name="T21" fmla="*/ 361 h 1398"/>
                  <a:gd name="T22" fmla="*/ 332 w 631"/>
                  <a:gd name="T23" fmla="*/ 385 h 1398"/>
                  <a:gd name="T24" fmla="*/ 362 w 631"/>
                  <a:gd name="T25" fmla="*/ 399 h 1398"/>
                  <a:gd name="T26" fmla="*/ 369 w 631"/>
                  <a:gd name="T27" fmla="*/ 418 h 1398"/>
                  <a:gd name="T28" fmla="*/ 401 w 631"/>
                  <a:gd name="T29" fmla="*/ 425 h 1398"/>
                  <a:gd name="T30" fmla="*/ 386 w 631"/>
                  <a:gd name="T31" fmla="*/ 469 h 1398"/>
                  <a:gd name="T32" fmla="*/ 410 w 631"/>
                  <a:gd name="T33" fmla="*/ 500 h 1398"/>
                  <a:gd name="T34" fmla="*/ 425 w 631"/>
                  <a:gd name="T35" fmla="*/ 536 h 1398"/>
                  <a:gd name="T36" fmla="*/ 485 w 631"/>
                  <a:gd name="T37" fmla="*/ 525 h 1398"/>
                  <a:gd name="T38" fmla="*/ 443 w 631"/>
                  <a:gd name="T39" fmla="*/ 626 h 1398"/>
                  <a:gd name="T40" fmla="*/ 405 w 631"/>
                  <a:gd name="T41" fmla="*/ 637 h 1398"/>
                  <a:gd name="T42" fmla="*/ 380 w 631"/>
                  <a:gd name="T43" fmla="*/ 630 h 1398"/>
                  <a:gd name="T44" fmla="*/ 363 w 631"/>
                  <a:gd name="T45" fmla="*/ 672 h 1398"/>
                  <a:gd name="T46" fmla="*/ 318 w 631"/>
                  <a:gd name="T47" fmla="*/ 688 h 1398"/>
                  <a:gd name="T48" fmla="*/ 301 w 631"/>
                  <a:gd name="T49" fmla="*/ 743 h 1398"/>
                  <a:gd name="T50" fmla="*/ 275 w 631"/>
                  <a:gd name="T51" fmla="*/ 775 h 1398"/>
                  <a:gd name="T52" fmla="*/ 221 w 631"/>
                  <a:gd name="T53" fmla="*/ 753 h 1398"/>
                  <a:gd name="T54" fmla="*/ 138 w 631"/>
                  <a:gd name="T55" fmla="*/ 763 h 1398"/>
                  <a:gd name="T56" fmla="*/ 111 w 631"/>
                  <a:gd name="T57" fmla="*/ 806 h 1398"/>
                  <a:gd name="T58" fmla="*/ 79 w 631"/>
                  <a:gd name="T59" fmla="*/ 814 h 1398"/>
                  <a:gd name="T60" fmla="*/ 55 w 631"/>
                  <a:gd name="T61" fmla="*/ 876 h 1398"/>
                  <a:gd name="T62" fmla="*/ 39 w 631"/>
                  <a:gd name="T63" fmla="*/ 929 h 1398"/>
                  <a:gd name="T64" fmla="*/ 76 w 631"/>
                  <a:gd name="T65" fmla="*/ 968 h 1398"/>
                  <a:gd name="T66" fmla="*/ 2 w 631"/>
                  <a:gd name="T67" fmla="*/ 1019 h 1398"/>
                  <a:gd name="T68" fmla="*/ 36 w 631"/>
                  <a:gd name="T69" fmla="*/ 1127 h 1398"/>
                  <a:gd name="T70" fmla="*/ 75 w 631"/>
                  <a:gd name="T71" fmla="*/ 1141 h 1398"/>
                  <a:gd name="T72" fmla="*/ 96 w 631"/>
                  <a:gd name="T73" fmla="*/ 1141 h 1398"/>
                  <a:gd name="T74" fmla="*/ 195 w 631"/>
                  <a:gd name="T75" fmla="*/ 1184 h 1398"/>
                  <a:gd name="T76" fmla="*/ 229 w 631"/>
                  <a:gd name="T77" fmla="*/ 1171 h 1398"/>
                  <a:gd name="T78" fmla="*/ 258 w 631"/>
                  <a:gd name="T79" fmla="*/ 1124 h 1398"/>
                  <a:gd name="T80" fmla="*/ 269 w 631"/>
                  <a:gd name="T81" fmla="*/ 1114 h 1398"/>
                  <a:gd name="T82" fmla="*/ 318 w 631"/>
                  <a:gd name="T83" fmla="*/ 1085 h 1398"/>
                  <a:gd name="T84" fmla="*/ 374 w 631"/>
                  <a:gd name="T85" fmla="*/ 1058 h 1398"/>
                  <a:gd name="T86" fmla="*/ 387 w 631"/>
                  <a:gd name="T87" fmla="*/ 1077 h 1398"/>
                  <a:gd name="T88" fmla="*/ 383 w 631"/>
                  <a:gd name="T89" fmla="*/ 1177 h 1398"/>
                  <a:gd name="T90" fmla="*/ 361 w 631"/>
                  <a:gd name="T91" fmla="*/ 1221 h 1398"/>
                  <a:gd name="T92" fmla="*/ 398 w 631"/>
                  <a:gd name="T93" fmla="*/ 1246 h 1398"/>
                  <a:gd name="T94" fmla="*/ 359 w 631"/>
                  <a:gd name="T95" fmla="*/ 1264 h 1398"/>
                  <a:gd name="T96" fmla="*/ 436 w 631"/>
                  <a:gd name="T97" fmla="*/ 1343 h 1398"/>
                  <a:gd name="T98" fmla="*/ 487 w 631"/>
                  <a:gd name="T99" fmla="*/ 1333 h 1398"/>
                  <a:gd name="T100" fmla="*/ 518 w 631"/>
                  <a:gd name="T101" fmla="*/ 1335 h 1398"/>
                  <a:gd name="T102" fmla="*/ 542 w 631"/>
                  <a:gd name="T103" fmla="*/ 1398 h 1398"/>
                  <a:gd name="T104" fmla="*/ 605 w 631"/>
                  <a:gd name="T105" fmla="*/ 1136 h 1398"/>
                  <a:gd name="T106" fmla="*/ 631 w 631"/>
                  <a:gd name="T107" fmla="*/ 18 h 1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1" h="1398">
                    <a:moveTo>
                      <a:pt x="631" y="18"/>
                    </a:moveTo>
                    <a:cubicBezTo>
                      <a:pt x="627" y="18"/>
                      <a:pt x="621" y="15"/>
                      <a:pt x="616" y="25"/>
                    </a:cubicBezTo>
                    <a:cubicBezTo>
                      <a:pt x="615" y="27"/>
                      <a:pt x="623" y="30"/>
                      <a:pt x="621" y="36"/>
                    </a:cubicBezTo>
                    <a:cubicBezTo>
                      <a:pt x="617" y="49"/>
                      <a:pt x="610" y="28"/>
                      <a:pt x="607" y="41"/>
                    </a:cubicBezTo>
                    <a:cubicBezTo>
                      <a:pt x="606" y="45"/>
                      <a:pt x="614" y="51"/>
                      <a:pt x="610" y="53"/>
                    </a:cubicBezTo>
                    <a:cubicBezTo>
                      <a:pt x="608" y="53"/>
                      <a:pt x="591" y="49"/>
                      <a:pt x="592" y="47"/>
                    </a:cubicBezTo>
                    <a:cubicBezTo>
                      <a:pt x="593" y="44"/>
                      <a:pt x="596" y="43"/>
                      <a:pt x="597" y="40"/>
                    </a:cubicBezTo>
                    <a:cubicBezTo>
                      <a:pt x="598" y="37"/>
                      <a:pt x="589" y="39"/>
                      <a:pt x="581" y="28"/>
                    </a:cubicBezTo>
                    <a:cubicBezTo>
                      <a:pt x="575" y="21"/>
                      <a:pt x="588" y="24"/>
                      <a:pt x="578" y="20"/>
                    </a:cubicBezTo>
                    <a:cubicBezTo>
                      <a:pt x="572" y="17"/>
                      <a:pt x="571" y="30"/>
                      <a:pt x="558" y="20"/>
                    </a:cubicBezTo>
                    <a:cubicBezTo>
                      <a:pt x="558" y="20"/>
                      <a:pt x="551" y="10"/>
                      <a:pt x="547" y="10"/>
                    </a:cubicBezTo>
                    <a:cubicBezTo>
                      <a:pt x="542" y="9"/>
                      <a:pt x="538" y="10"/>
                      <a:pt x="534" y="8"/>
                    </a:cubicBezTo>
                    <a:cubicBezTo>
                      <a:pt x="533" y="8"/>
                      <a:pt x="532" y="0"/>
                      <a:pt x="529" y="5"/>
                    </a:cubicBezTo>
                    <a:cubicBezTo>
                      <a:pt x="524" y="16"/>
                      <a:pt x="524" y="18"/>
                      <a:pt x="525" y="28"/>
                    </a:cubicBezTo>
                    <a:cubicBezTo>
                      <a:pt x="525" y="30"/>
                      <a:pt x="528" y="32"/>
                      <a:pt x="526" y="33"/>
                    </a:cubicBezTo>
                    <a:cubicBezTo>
                      <a:pt x="518" y="41"/>
                      <a:pt x="509" y="35"/>
                      <a:pt x="500" y="40"/>
                    </a:cubicBezTo>
                    <a:cubicBezTo>
                      <a:pt x="469" y="59"/>
                      <a:pt x="507" y="40"/>
                      <a:pt x="487" y="56"/>
                    </a:cubicBezTo>
                    <a:cubicBezTo>
                      <a:pt x="486" y="57"/>
                      <a:pt x="485" y="54"/>
                      <a:pt x="484" y="54"/>
                    </a:cubicBezTo>
                    <a:cubicBezTo>
                      <a:pt x="481" y="55"/>
                      <a:pt x="478" y="56"/>
                      <a:pt x="475" y="58"/>
                    </a:cubicBezTo>
                    <a:cubicBezTo>
                      <a:pt x="473" y="61"/>
                      <a:pt x="486" y="64"/>
                      <a:pt x="486" y="66"/>
                    </a:cubicBezTo>
                    <a:cubicBezTo>
                      <a:pt x="487" y="67"/>
                      <a:pt x="482" y="65"/>
                      <a:pt x="479" y="66"/>
                    </a:cubicBezTo>
                    <a:cubicBezTo>
                      <a:pt x="477" y="66"/>
                      <a:pt x="476" y="69"/>
                      <a:pt x="474" y="70"/>
                    </a:cubicBezTo>
                    <a:cubicBezTo>
                      <a:pt x="471" y="73"/>
                      <a:pt x="481" y="78"/>
                      <a:pt x="481" y="82"/>
                    </a:cubicBezTo>
                    <a:cubicBezTo>
                      <a:pt x="482" y="88"/>
                      <a:pt x="472" y="91"/>
                      <a:pt x="472" y="96"/>
                    </a:cubicBezTo>
                    <a:cubicBezTo>
                      <a:pt x="472" y="98"/>
                      <a:pt x="473" y="99"/>
                      <a:pt x="475" y="99"/>
                    </a:cubicBezTo>
                    <a:cubicBezTo>
                      <a:pt x="481" y="99"/>
                      <a:pt x="485" y="98"/>
                      <a:pt x="483" y="108"/>
                    </a:cubicBezTo>
                    <a:cubicBezTo>
                      <a:pt x="483" y="118"/>
                      <a:pt x="474" y="112"/>
                      <a:pt x="474" y="119"/>
                    </a:cubicBezTo>
                    <a:cubicBezTo>
                      <a:pt x="474" y="141"/>
                      <a:pt x="473" y="125"/>
                      <a:pt x="465" y="142"/>
                    </a:cubicBezTo>
                    <a:cubicBezTo>
                      <a:pt x="465" y="143"/>
                      <a:pt x="468" y="145"/>
                      <a:pt x="468" y="147"/>
                    </a:cubicBezTo>
                    <a:cubicBezTo>
                      <a:pt x="466" y="155"/>
                      <a:pt x="457" y="166"/>
                      <a:pt x="453" y="174"/>
                    </a:cubicBezTo>
                    <a:cubicBezTo>
                      <a:pt x="451" y="180"/>
                      <a:pt x="447" y="186"/>
                      <a:pt x="444" y="191"/>
                    </a:cubicBezTo>
                    <a:cubicBezTo>
                      <a:pt x="444" y="193"/>
                      <a:pt x="445" y="196"/>
                      <a:pt x="443" y="197"/>
                    </a:cubicBezTo>
                    <a:cubicBezTo>
                      <a:pt x="440" y="197"/>
                      <a:pt x="440" y="192"/>
                      <a:pt x="437" y="192"/>
                    </a:cubicBezTo>
                    <a:cubicBezTo>
                      <a:pt x="432" y="192"/>
                      <a:pt x="439" y="201"/>
                      <a:pt x="438" y="205"/>
                    </a:cubicBezTo>
                    <a:cubicBezTo>
                      <a:pt x="436" y="208"/>
                      <a:pt x="431" y="209"/>
                      <a:pt x="429" y="211"/>
                    </a:cubicBezTo>
                    <a:cubicBezTo>
                      <a:pt x="427" y="212"/>
                      <a:pt x="432" y="213"/>
                      <a:pt x="432" y="215"/>
                    </a:cubicBezTo>
                    <a:cubicBezTo>
                      <a:pt x="431" y="220"/>
                      <a:pt x="423" y="220"/>
                      <a:pt x="427" y="226"/>
                    </a:cubicBezTo>
                    <a:cubicBezTo>
                      <a:pt x="430" y="230"/>
                      <a:pt x="439" y="232"/>
                      <a:pt x="438" y="237"/>
                    </a:cubicBezTo>
                    <a:cubicBezTo>
                      <a:pt x="435" y="244"/>
                      <a:pt x="431" y="239"/>
                      <a:pt x="426" y="240"/>
                    </a:cubicBezTo>
                    <a:cubicBezTo>
                      <a:pt x="420" y="241"/>
                      <a:pt x="426" y="252"/>
                      <a:pt x="417" y="253"/>
                    </a:cubicBezTo>
                    <a:cubicBezTo>
                      <a:pt x="416" y="253"/>
                      <a:pt x="416" y="251"/>
                      <a:pt x="416" y="252"/>
                    </a:cubicBezTo>
                    <a:cubicBezTo>
                      <a:pt x="413" y="260"/>
                      <a:pt x="407" y="268"/>
                      <a:pt x="403" y="276"/>
                    </a:cubicBezTo>
                    <a:cubicBezTo>
                      <a:pt x="402" y="279"/>
                      <a:pt x="416" y="277"/>
                      <a:pt x="406" y="285"/>
                    </a:cubicBezTo>
                    <a:cubicBezTo>
                      <a:pt x="404" y="286"/>
                      <a:pt x="400" y="284"/>
                      <a:pt x="397" y="286"/>
                    </a:cubicBezTo>
                    <a:cubicBezTo>
                      <a:pt x="393" y="290"/>
                      <a:pt x="396" y="297"/>
                      <a:pt x="393" y="302"/>
                    </a:cubicBezTo>
                    <a:cubicBezTo>
                      <a:pt x="392" y="303"/>
                      <a:pt x="391" y="302"/>
                      <a:pt x="390" y="303"/>
                    </a:cubicBezTo>
                    <a:cubicBezTo>
                      <a:pt x="388" y="305"/>
                      <a:pt x="386" y="307"/>
                      <a:pt x="385" y="310"/>
                    </a:cubicBezTo>
                    <a:cubicBezTo>
                      <a:pt x="384" y="311"/>
                      <a:pt x="389" y="312"/>
                      <a:pt x="388" y="314"/>
                    </a:cubicBezTo>
                    <a:cubicBezTo>
                      <a:pt x="386" y="320"/>
                      <a:pt x="371" y="327"/>
                      <a:pt x="375" y="334"/>
                    </a:cubicBezTo>
                    <a:cubicBezTo>
                      <a:pt x="376" y="337"/>
                      <a:pt x="382" y="340"/>
                      <a:pt x="383" y="343"/>
                    </a:cubicBezTo>
                    <a:cubicBezTo>
                      <a:pt x="384" y="346"/>
                      <a:pt x="376" y="345"/>
                      <a:pt x="374" y="344"/>
                    </a:cubicBezTo>
                    <a:cubicBezTo>
                      <a:pt x="372" y="342"/>
                      <a:pt x="373" y="337"/>
                      <a:pt x="371" y="338"/>
                    </a:cubicBezTo>
                    <a:cubicBezTo>
                      <a:pt x="366" y="341"/>
                      <a:pt x="359" y="345"/>
                      <a:pt x="358" y="351"/>
                    </a:cubicBezTo>
                    <a:cubicBezTo>
                      <a:pt x="358" y="354"/>
                      <a:pt x="364" y="354"/>
                      <a:pt x="364" y="357"/>
                    </a:cubicBezTo>
                    <a:cubicBezTo>
                      <a:pt x="364" y="359"/>
                      <a:pt x="360" y="360"/>
                      <a:pt x="358" y="361"/>
                    </a:cubicBezTo>
                    <a:cubicBezTo>
                      <a:pt x="356" y="361"/>
                      <a:pt x="356" y="358"/>
                      <a:pt x="354" y="359"/>
                    </a:cubicBezTo>
                    <a:cubicBezTo>
                      <a:pt x="350" y="360"/>
                      <a:pt x="350" y="368"/>
                      <a:pt x="349" y="368"/>
                    </a:cubicBezTo>
                    <a:cubicBezTo>
                      <a:pt x="347" y="368"/>
                      <a:pt x="341" y="366"/>
                      <a:pt x="340" y="366"/>
                    </a:cubicBezTo>
                    <a:cubicBezTo>
                      <a:pt x="328" y="369"/>
                      <a:pt x="341" y="382"/>
                      <a:pt x="339" y="383"/>
                    </a:cubicBezTo>
                    <a:cubicBezTo>
                      <a:pt x="333" y="385"/>
                      <a:pt x="337" y="371"/>
                      <a:pt x="332" y="385"/>
                    </a:cubicBezTo>
                    <a:cubicBezTo>
                      <a:pt x="329" y="396"/>
                      <a:pt x="345" y="381"/>
                      <a:pt x="346" y="389"/>
                    </a:cubicBezTo>
                    <a:cubicBezTo>
                      <a:pt x="346" y="392"/>
                      <a:pt x="345" y="396"/>
                      <a:pt x="346" y="399"/>
                    </a:cubicBezTo>
                    <a:cubicBezTo>
                      <a:pt x="346" y="400"/>
                      <a:pt x="349" y="401"/>
                      <a:pt x="349" y="402"/>
                    </a:cubicBezTo>
                    <a:cubicBezTo>
                      <a:pt x="348" y="404"/>
                      <a:pt x="343" y="409"/>
                      <a:pt x="345" y="409"/>
                    </a:cubicBezTo>
                    <a:cubicBezTo>
                      <a:pt x="345" y="409"/>
                      <a:pt x="362" y="399"/>
                      <a:pt x="362" y="399"/>
                    </a:cubicBezTo>
                    <a:cubicBezTo>
                      <a:pt x="363" y="398"/>
                      <a:pt x="361" y="396"/>
                      <a:pt x="361" y="394"/>
                    </a:cubicBezTo>
                    <a:cubicBezTo>
                      <a:pt x="362" y="392"/>
                      <a:pt x="369" y="386"/>
                      <a:pt x="371" y="394"/>
                    </a:cubicBezTo>
                    <a:cubicBezTo>
                      <a:pt x="372" y="397"/>
                      <a:pt x="371" y="401"/>
                      <a:pt x="369" y="403"/>
                    </a:cubicBezTo>
                    <a:cubicBezTo>
                      <a:pt x="367" y="405"/>
                      <a:pt x="365" y="401"/>
                      <a:pt x="363" y="402"/>
                    </a:cubicBezTo>
                    <a:cubicBezTo>
                      <a:pt x="358" y="403"/>
                      <a:pt x="364" y="417"/>
                      <a:pt x="369" y="418"/>
                    </a:cubicBezTo>
                    <a:cubicBezTo>
                      <a:pt x="378" y="421"/>
                      <a:pt x="386" y="407"/>
                      <a:pt x="388" y="406"/>
                    </a:cubicBezTo>
                    <a:cubicBezTo>
                      <a:pt x="391" y="405"/>
                      <a:pt x="393" y="407"/>
                      <a:pt x="396" y="406"/>
                    </a:cubicBezTo>
                    <a:cubicBezTo>
                      <a:pt x="399" y="406"/>
                      <a:pt x="407" y="396"/>
                      <a:pt x="412" y="402"/>
                    </a:cubicBezTo>
                    <a:cubicBezTo>
                      <a:pt x="421" y="414"/>
                      <a:pt x="410" y="414"/>
                      <a:pt x="406" y="416"/>
                    </a:cubicBezTo>
                    <a:cubicBezTo>
                      <a:pt x="404" y="418"/>
                      <a:pt x="404" y="423"/>
                      <a:pt x="401" y="425"/>
                    </a:cubicBezTo>
                    <a:cubicBezTo>
                      <a:pt x="399" y="427"/>
                      <a:pt x="395" y="423"/>
                      <a:pt x="392" y="425"/>
                    </a:cubicBezTo>
                    <a:cubicBezTo>
                      <a:pt x="389" y="427"/>
                      <a:pt x="388" y="431"/>
                      <a:pt x="386" y="433"/>
                    </a:cubicBezTo>
                    <a:cubicBezTo>
                      <a:pt x="384" y="436"/>
                      <a:pt x="380" y="439"/>
                      <a:pt x="380" y="442"/>
                    </a:cubicBezTo>
                    <a:cubicBezTo>
                      <a:pt x="379" y="444"/>
                      <a:pt x="384" y="441"/>
                      <a:pt x="385" y="443"/>
                    </a:cubicBezTo>
                    <a:cubicBezTo>
                      <a:pt x="389" y="446"/>
                      <a:pt x="377" y="469"/>
                      <a:pt x="386" y="469"/>
                    </a:cubicBezTo>
                    <a:cubicBezTo>
                      <a:pt x="388" y="470"/>
                      <a:pt x="389" y="466"/>
                      <a:pt x="392" y="467"/>
                    </a:cubicBezTo>
                    <a:cubicBezTo>
                      <a:pt x="394" y="468"/>
                      <a:pt x="394" y="472"/>
                      <a:pt x="397" y="473"/>
                    </a:cubicBezTo>
                    <a:cubicBezTo>
                      <a:pt x="399" y="474"/>
                      <a:pt x="401" y="470"/>
                      <a:pt x="402" y="471"/>
                    </a:cubicBezTo>
                    <a:cubicBezTo>
                      <a:pt x="407" y="472"/>
                      <a:pt x="412" y="474"/>
                      <a:pt x="414" y="478"/>
                    </a:cubicBezTo>
                    <a:cubicBezTo>
                      <a:pt x="414" y="478"/>
                      <a:pt x="411" y="500"/>
                      <a:pt x="410" y="500"/>
                    </a:cubicBezTo>
                    <a:cubicBezTo>
                      <a:pt x="409" y="503"/>
                      <a:pt x="405" y="504"/>
                      <a:pt x="404" y="506"/>
                    </a:cubicBezTo>
                    <a:cubicBezTo>
                      <a:pt x="401" y="512"/>
                      <a:pt x="405" y="518"/>
                      <a:pt x="402" y="523"/>
                    </a:cubicBezTo>
                    <a:cubicBezTo>
                      <a:pt x="401" y="527"/>
                      <a:pt x="392" y="527"/>
                      <a:pt x="399" y="532"/>
                    </a:cubicBezTo>
                    <a:cubicBezTo>
                      <a:pt x="408" y="538"/>
                      <a:pt x="412" y="528"/>
                      <a:pt x="421" y="525"/>
                    </a:cubicBezTo>
                    <a:cubicBezTo>
                      <a:pt x="426" y="523"/>
                      <a:pt x="419" y="540"/>
                      <a:pt x="425" y="536"/>
                    </a:cubicBezTo>
                    <a:cubicBezTo>
                      <a:pt x="432" y="532"/>
                      <a:pt x="438" y="525"/>
                      <a:pt x="445" y="522"/>
                    </a:cubicBezTo>
                    <a:cubicBezTo>
                      <a:pt x="449" y="522"/>
                      <a:pt x="451" y="529"/>
                      <a:pt x="455" y="528"/>
                    </a:cubicBezTo>
                    <a:cubicBezTo>
                      <a:pt x="473" y="523"/>
                      <a:pt x="454" y="513"/>
                      <a:pt x="483" y="521"/>
                    </a:cubicBezTo>
                    <a:cubicBezTo>
                      <a:pt x="484" y="521"/>
                      <a:pt x="486" y="518"/>
                      <a:pt x="487" y="519"/>
                    </a:cubicBezTo>
                    <a:cubicBezTo>
                      <a:pt x="488" y="522"/>
                      <a:pt x="485" y="523"/>
                      <a:pt x="485" y="525"/>
                    </a:cubicBezTo>
                    <a:cubicBezTo>
                      <a:pt x="486" y="534"/>
                      <a:pt x="504" y="547"/>
                      <a:pt x="501" y="555"/>
                    </a:cubicBezTo>
                    <a:cubicBezTo>
                      <a:pt x="497" y="569"/>
                      <a:pt x="485" y="591"/>
                      <a:pt x="470" y="596"/>
                    </a:cubicBezTo>
                    <a:cubicBezTo>
                      <a:pt x="462" y="599"/>
                      <a:pt x="459" y="590"/>
                      <a:pt x="453" y="592"/>
                    </a:cubicBezTo>
                    <a:cubicBezTo>
                      <a:pt x="447" y="597"/>
                      <a:pt x="468" y="617"/>
                      <a:pt x="453" y="633"/>
                    </a:cubicBezTo>
                    <a:cubicBezTo>
                      <a:pt x="441" y="645"/>
                      <a:pt x="459" y="617"/>
                      <a:pt x="443" y="626"/>
                    </a:cubicBezTo>
                    <a:cubicBezTo>
                      <a:pt x="437" y="630"/>
                      <a:pt x="431" y="637"/>
                      <a:pt x="422" y="639"/>
                    </a:cubicBezTo>
                    <a:cubicBezTo>
                      <a:pt x="420" y="641"/>
                      <a:pt x="418" y="640"/>
                      <a:pt x="415" y="639"/>
                    </a:cubicBezTo>
                    <a:cubicBezTo>
                      <a:pt x="414" y="639"/>
                      <a:pt x="413" y="637"/>
                      <a:pt x="412" y="637"/>
                    </a:cubicBezTo>
                    <a:cubicBezTo>
                      <a:pt x="410" y="638"/>
                      <a:pt x="409" y="641"/>
                      <a:pt x="408" y="641"/>
                    </a:cubicBezTo>
                    <a:cubicBezTo>
                      <a:pt x="406" y="641"/>
                      <a:pt x="406" y="637"/>
                      <a:pt x="405" y="637"/>
                    </a:cubicBezTo>
                    <a:cubicBezTo>
                      <a:pt x="404" y="637"/>
                      <a:pt x="403" y="639"/>
                      <a:pt x="402" y="639"/>
                    </a:cubicBezTo>
                    <a:cubicBezTo>
                      <a:pt x="401" y="639"/>
                      <a:pt x="400" y="638"/>
                      <a:pt x="399" y="637"/>
                    </a:cubicBezTo>
                    <a:cubicBezTo>
                      <a:pt x="397" y="634"/>
                      <a:pt x="398" y="626"/>
                      <a:pt x="391" y="629"/>
                    </a:cubicBezTo>
                    <a:cubicBezTo>
                      <a:pt x="389" y="629"/>
                      <a:pt x="387" y="632"/>
                      <a:pt x="384" y="633"/>
                    </a:cubicBezTo>
                    <a:cubicBezTo>
                      <a:pt x="383" y="633"/>
                      <a:pt x="382" y="629"/>
                      <a:pt x="380" y="630"/>
                    </a:cubicBezTo>
                    <a:cubicBezTo>
                      <a:pt x="371" y="633"/>
                      <a:pt x="379" y="636"/>
                      <a:pt x="379" y="639"/>
                    </a:cubicBezTo>
                    <a:cubicBezTo>
                      <a:pt x="378" y="643"/>
                      <a:pt x="365" y="647"/>
                      <a:pt x="363" y="648"/>
                    </a:cubicBezTo>
                    <a:cubicBezTo>
                      <a:pt x="358" y="652"/>
                      <a:pt x="373" y="661"/>
                      <a:pt x="370" y="663"/>
                    </a:cubicBezTo>
                    <a:cubicBezTo>
                      <a:pt x="369" y="665"/>
                      <a:pt x="365" y="664"/>
                      <a:pt x="363" y="666"/>
                    </a:cubicBezTo>
                    <a:cubicBezTo>
                      <a:pt x="362" y="668"/>
                      <a:pt x="364" y="670"/>
                      <a:pt x="363" y="672"/>
                    </a:cubicBezTo>
                    <a:cubicBezTo>
                      <a:pt x="362" y="680"/>
                      <a:pt x="343" y="667"/>
                      <a:pt x="343" y="667"/>
                    </a:cubicBezTo>
                    <a:cubicBezTo>
                      <a:pt x="340" y="667"/>
                      <a:pt x="339" y="671"/>
                      <a:pt x="337" y="673"/>
                    </a:cubicBezTo>
                    <a:cubicBezTo>
                      <a:pt x="336" y="675"/>
                      <a:pt x="325" y="680"/>
                      <a:pt x="326" y="684"/>
                    </a:cubicBezTo>
                    <a:cubicBezTo>
                      <a:pt x="327" y="685"/>
                      <a:pt x="331" y="685"/>
                      <a:pt x="331" y="688"/>
                    </a:cubicBezTo>
                    <a:cubicBezTo>
                      <a:pt x="332" y="694"/>
                      <a:pt x="319" y="688"/>
                      <a:pt x="318" y="688"/>
                    </a:cubicBezTo>
                    <a:cubicBezTo>
                      <a:pt x="315" y="694"/>
                      <a:pt x="327" y="697"/>
                      <a:pt x="322" y="705"/>
                    </a:cubicBezTo>
                    <a:cubicBezTo>
                      <a:pt x="320" y="707"/>
                      <a:pt x="316" y="706"/>
                      <a:pt x="315" y="708"/>
                    </a:cubicBezTo>
                    <a:cubicBezTo>
                      <a:pt x="313" y="711"/>
                      <a:pt x="320" y="717"/>
                      <a:pt x="320" y="720"/>
                    </a:cubicBezTo>
                    <a:cubicBezTo>
                      <a:pt x="320" y="720"/>
                      <a:pt x="314" y="745"/>
                      <a:pt x="314" y="745"/>
                    </a:cubicBezTo>
                    <a:cubicBezTo>
                      <a:pt x="313" y="749"/>
                      <a:pt x="306" y="742"/>
                      <a:pt x="301" y="743"/>
                    </a:cubicBezTo>
                    <a:cubicBezTo>
                      <a:pt x="299" y="743"/>
                      <a:pt x="299" y="747"/>
                      <a:pt x="297" y="748"/>
                    </a:cubicBezTo>
                    <a:cubicBezTo>
                      <a:pt x="290" y="749"/>
                      <a:pt x="253" y="733"/>
                      <a:pt x="252" y="748"/>
                    </a:cubicBezTo>
                    <a:cubicBezTo>
                      <a:pt x="251" y="750"/>
                      <a:pt x="251" y="753"/>
                      <a:pt x="254" y="754"/>
                    </a:cubicBezTo>
                    <a:cubicBezTo>
                      <a:pt x="255" y="755"/>
                      <a:pt x="260" y="750"/>
                      <a:pt x="263" y="754"/>
                    </a:cubicBezTo>
                    <a:cubicBezTo>
                      <a:pt x="266" y="758"/>
                      <a:pt x="276" y="769"/>
                      <a:pt x="275" y="775"/>
                    </a:cubicBezTo>
                    <a:cubicBezTo>
                      <a:pt x="273" y="779"/>
                      <a:pt x="266" y="781"/>
                      <a:pt x="263" y="777"/>
                    </a:cubicBezTo>
                    <a:cubicBezTo>
                      <a:pt x="260" y="774"/>
                      <a:pt x="259" y="771"/>
                      <a:pt x="258" y="767"/>
                    </a:cubicBezTo>
                    <a:cubicBezTo>
                      <a:pt x="257" y="764"/>
                      <a:pt x="259" y="760"/>
                      <a:pt x="257" y="760"/>
                    </a:cubicBezTo>
                    <a:cubicBezTo>
                      <a:pt x="239" y="761"/>
                      <a:pt x="239" y="761"/>
                      <a:pt x="239" y="761"/>
                    </a:cubicBezTo>
                    <a:cubicBezTo>
                      <a:pt x="226" y="755"/>
                      <a:pt x="241" y="749"/>
                      <a:pt x="221" y="753"/>
                    </a:cubicBezTo>
                    <a:cubicBezTo>
                      <a:pt x="217" y="754"/>
                      <a:pt x="214" y="759"/>
                      <a:pt x="210" y="759"/>
                    </a:cubicBezTo>
                    <a:cubicBezTo>
                      <a:pt x="193" y="758"/>
                      <a:pt x="209" y="744"/>
                      <a:pt x="186" y="751"/>
                    </a:cubicBezTo>
                    <a:cubicBezTo>
                      <a:pt x="180" y="753"/>
                      <a:pt x="161" y="777"/>
                      <a:pt x="156" y="775"/>
                    </a:cubicBezTo>
                    <a:cubicBezTo>
                      <a:pt x="150" y="771"/>
                      <a:pt x="145" y="763"/>
                      <a:pt x="138" y="760"/>
                    </a:cubicBezTo>
                    <a:cubicBezTo>
                      <a:pt x="137" y="759"/>
                      <a:pt x="138" y="762"/>
                      <a:pt x="138" y="763"/>
                    </a:cubicBezTo>
                    <a:cubicBezTo>
                      <a:pt x="137" y="767"/>
                      <a:pt x="136" y="771"/>
                      <a:pt x="133" y="774"/>
                    </a:cubicBezTo>
                    <a:cubicBezTo>
                      <a:pt x="131" y="776"/>
                      <a:pt x="128" y="776"/>
                      <a:pt x="126" y="777"/>
                    </a:cubicBezTo>
                    <a:cubicBezTo>
                      <a:pt x="118" y="787"/>
                      <a:pt x="132" y="789"/>
                      <a:pt x="128" y="798"/>
                    </a:cubicBezTo>
                    <a:cubicBezTo>
                      <a:pt x="125" y="802"/>
                      <a:pt x="122" y="789"/>
                      <a:pt x="119" y="795"/>
                    </a:cubicBezTo>
                    <a:cubicBezTo>
                      <a:pt x="116" y="802"/>
                      <a:pt x="121" y="806"/>
                      <a:pt x="111" y="806"/>
                    </a:cubicBezTo>
                    <a:cubicBezTo>
                      <a:pt x="100" y="807"/>
                      <a:pt x="116" y="799"/>
                      <a:pt x="109" y="796"/>
                    </a:cubicBezTo>
                    <a:cubicBezTo>
                      <a:pt x="97" y="789"/>
                      <a:pt x="99" y="801"/>
                      <a:pt x="90" y="803"/>
                    </a:cubicBezTo>
                    <a:cubicBezTo>
                      <a:pt x="86" y="804"/>
                      <a:pt x="83" y="801"/>
                      <a:pt x="79" y="802"/>
                    </a:cubicBezTo>
                    <a:cubicBezTo>
                      <a:pt x="78" y="802"/>
                      <a:pt x="88" y="810"/>
                      <a:pt x="88" y="811"/>
                    </a:cubicBezTo>
                    <a:cubicBezTo>
                      <a:pt x="84" y="829"/>
                      <a:pt x="85" y="803"/>
                      <a:pt x="79" y="814"/>
                    </a:cubicBezTo>
                    <a:cubicBezTo>
                      <a:pt x="75" y="820"/>
                      <a:pt x="83" y="822"/>
                      <a:pt x="83" y="827"/>
                    </a:cubicBezTo>
                    <a:cubicBezTo>
                      <a:pt x="83" y="827"/>
                      <a:pt x="80" y="847"/>
                      <a:pt x="79" y="848"/>
                    </a:cubicBezTo>
                    <a:cubicBezTo>
                      <a:pt x="77" y="851"/>
                      <a:pt x="73" y="853"/>
                      <a:pt x="71" y="856"/>
                    </a:cubicBezTo>
                    <a:cubicBezTo>
                      <a:pt x="69" y="860"/>
                      <a:pt x="71" y="865"/>
                      <a:pt x="69" y="869"/>
                    </a:cubicBezTo>
                    <a:cubicBezTo>
                      <a:pt x="66" y="873"/>
                      <a:pt x="57" y="871"/>
                      <a:pt x="55" y="876"/>
                    </a:cubicBezTo>
                    <a:cubicBezTo>
                      <a:pt x="51" y="891"/>
                      <a:pt x="65" y="891"/>
                      <a:pt x="64" y="894"/>
                    </a:cubicBezTo>
                    <a:cubicBezTo>
                      <a:pt x="63" y="897"/>
                      <a:pt x="61" y="900"/>
                      <a:pt x="59" y="903"/>
                    </a:cubicBezTo>
                    <a:cubicBezTo>
                      <a:pt x="58" y="904"/>
                      <a:pt x="57" y="904"/>
                      <a:pt x="56" y="905"/>
                    </a:cubicBezTo>
                    <a:cubicBezTo>
                      <a:pt x="56" y="905"/>
                      <a:pt x="53" y="923"/>
                      <a:pt x="52" y="924"/>
                    </a:cubicBezTo>
                    <a:cubicBezTo>
                      <a:pt x="50" y="929"/>
                      <a:pt x="39" y="927"/>
                      <a:pt x="39" y="929"/>
                    </a:cubicBezTo>
                    <a:cubicBezTo>
                      <a:pt x="39" y="933"/>
                      <a:pt x="45" y="930"/>
                      <a:pt x="45" y="930"/>
                    </a:cubicBezTo>
                    <a:cubicBezTo>
                      <a:pt x="49" y="933"/>
                      <a:pt x="62" y="949"/>
                      <a:pt x="66" y="952"/>
                    </a:cubicBezTo>
                    <a:cubicBezTo>
                      <a:pt x="67" y="954"/>
                      <a:pt x="66" y="957"/>
                      <a:pt x="68" y="959"/>
                    </a:cubicBezTo>
                    <a:cubicBezTo>
                      <a:pt x="72" y="963"/>
                      <a:pt x="73" y="950"/>
                      <a:pt x="76" y="961"/>
                    </a:cubicBezTo>
                    <a:cubicBezTo>
                      <a:pt x="77" y="963"/>
                      <a:pt x="77" y="966"/>
                      <a:pt x="76" y="968"/>
                    </a:cubicBezTo>
                    <a:cubicBezTo>
                      <a:pt x="62" y="1001"/>
                      <a:pt x="54" y="982"/>
                      <a:pt x="34" y="974"/>
                    </a:cubicBezTo>
                    <a:cubicBezTo>
                      <a:pt x="32" y="973"/>
                      <a:pt x="9" y="963"/>
                      <a:pt x="7" y="966"/>
                    </a:cubicBezTo>
                    <a:cubicBezTo>
                      <a:pt x="5" y="973"/>
                      <a:pt x="0" y="984"/>
                      <a:pt x="5" y="991"/>
                    </a:cubicBezTo>
                    <a:cubicBezTo>
                      <a:pt x="6" y="992"/>
                      <a:pt x="11" y="994"/>
                      <a:pt x="11" y="996"/>
                    </a:cubicBezTo>
                    <a:cubicBezTo>
                      <a:pt x="12" y="1009"/>
                      <a:pt x="2" y="1012"/>
                      <a:pt x="2" y="1019"/>
                    </a:cubicBezTo>
                    <a:cubicBezTo>
                      <a:pt x="2" y="1021"/>
                      <a:pt x="16" y="1059"/>
                      <a:pt x="16" y="1059"/>
                    </a:cubicBezTo>
                    <a:cubicBezTo>
                      <a:pt x="19" y="1062"/>
                      <a:pt x="30" y="1057"/>
                      <a:pt x="33" y="1064"/>
                    </a:cubicBezTo>
                    <a:cubicBezTo>
                      <a:pt x="37" y="1073"/>
                      <a:pt x="31" y="1078"/>
                      <a:pt x="30" y="1086"/>
                    </a:cubicBezTo>
                    <a:cubicBezTo>
                      <a:pt x="29" y="1094"/>
                      <a:pt x="33" y="1108"/>
                      <a:pt x="34" y="1117"/>
                    </a:cubicBezTo>
                    <a:cubicBezTo>
                      <a:pt x="35" y="1120"/>
                      <a:pt x="34" y="1125"/>
                      <a:pt x="36" y="1127"/>
                    </a:cubicBezTo>
                    <a:cubicBezTo>
                      <a:pt x="38" y="1128"/>
                      <a:pt x="65" y="1122"/>
                      <a:pt x="69" y="1123"/>
                    </a:cubicBezTo>
                    <a:cubicBezTo>
                      <a:pt x="73" y="1124"/>
                      <a:pt x="70" y="1131"/>
                      <a:pt x="73" y="1133"/>
                    </a:cubicBezTo>
                    <a:cubicBezTo>
                      <a:pt x="75" y="1134"/>
                      <a:pt x="77" y="1131"/>
                      <a:pt x="78" y="1132"/>
                    </a:cubicBezTo>
                    <a:cubicBezTo>
                      <a:pt x="79" y="1133"/>
                      <a:pt x="78" y="1136"/>
                      <a:pt x="78" y="1138"/>
                    </a:cubicBezTo>
                    <a:cubicBezTo>
                      <a:pt x="77" y="1139"/>
                      <a:pt x="74" y="1140"/>
                      <a:pt x="75" y="1141"/>
                    </a:cubicBezTo>
                    <a:cubicBezTo>
                      <a:pt x="77" y="1144"/>
                      <a:pt x="82" y="1144"/>
                      <a:pt x="85" y="1147"/>
                    </a:cubicBezTo>
                    <a:cubicBezTo>
                      <a:pt x="86" y="1148"/>
                      <a:pt x="84" y="1149"/>
                      <a:pt x="83" y="1150"/>
                    </a:cubicBezTo>
                    <a:cubicBezTo>
                      <a:pt x="83" y="1150"/>
                      <a:pt x="84" y="1151"/>
                      <a:pt x="84" y="1151"/>
                    </a:cubicBezTo>
                    <a:cubicBezTo>
                      <a:pt x="85" y="1151"/>
                      <a:pt x="100" y="1154"/>
                      <a:pt x="100" y="1154"/>
                    </a:cubicBezTo>
                    <a:cubicBezTo>
                      <a:pt x="101" y="1153"/>
                      <a:pt x="95" y="1142"/>
                      <a:pt x="96" y="1141"/>
                    </a:cubicBezTo>
                    <a:cubicBezTo>
                      <a:pt x="100" y="1141"/>
                      <a:pt x="104" y="1142"/>
                      <a:pt x="109" y="1141"/>
                    </a:cubicBezTo>
                    <a:cubicBezTo>
                      <a:pt x="116" y="1139"/>
                      <a:pt x="120" y="1128"/>
                      <a:pt x="129" y="1130"/>
                    </a:cubicBezTo>
                    <a:cubicBezTo>
                      <a:pt x="151" y="1136"/>
                      <a:pt x="160" y="1146"/>
                      <a:pt x="178" y="1158"/>
                    </a:cubicBezTo>
                    <a:cubicBezTo>
                      <a:pt x="186" y="1163"/>
                      <a:pt x="197" y="1163"/>
                      <a:pt x="203" y="1170"/>
                    </a:cubicBezTo>
                    <a:cubicBezTo>
                      <a:pt x="206" y="1174"/>
                      <a:pt x="198" y="1183"/>
                      <a:pt x="195" y="1184"/>
                    </a:cubicBezTo>
                    <a:cubicBezTo>
                      <a:pt x="192" y="1184"/>
                      <a:pt x="185" y="1175"/>
                      <a:pt x="182" y="1185"/>
                    </a:cubicBezTo>
                    <a:cubicBezTo>
                      <a:pt x="178" y="1201"/>
                      <a:pt x="213" y="1194"/>
                      <a:pt x="225" y="1193"/>
                    </a:cubicBezTo>
                    <a:cubicBezTo>
                      <a:pt x="223" y="1185"/>
                      <a:pt x="220" y="1178"/>
                      <a:pt x="221" y="1176"/>
                    </a:cubicBezTo>
                    <a:cubicBezTo>
                      <a:pt x="225" y="1173"/>
                      <a:pt x="230" y="1178"/>
                      <a:pt x="233" y="1176"/>
                    </a:cubicBezTo>
                    <a:cubicBezTo>
                      <a:pt x="235" y="1175"/>
                      <a:pt x="227" y="1172"/>
                      <a:pt x="229" y="1171"/>
                    </a:cubicBezTo>
                    <a:cubicBezTo>
                      <a:pt x="231" y="1170"/>
                      <a:pt x="234" y="1173"/>
                      <a:pt x="237" y="1174"/>
                    </a:cubicBezTo>
                    <a:cubicBezTo>
                      <a:pt x="238" y="1174"/>
                      <a:pt x="250" y="1156"/>
                      <a:pt x="251" y="1153"/>
                    </a:cubicBezTo>
                    <a:cubicBezTo>
                      <a:pt x="253" y="1148"/>
                      <a:pt x="250" y="1136"/>
                      <a:pt x="254" y="1138"/>
                    </a:cubicBezTo>
                    <a:cubicBezTo>
                      <a:pt x="255" y="1139"/>
                      <a:pt x="256" y="1142"/>
                      <a:pt x="257" y="1141"/>
                    </a:cubicBezTo>
                    <a:cubicBezTo>
                      <a:pt x="258" y="1136"/>
                      <a:pt x="256" y="1129"/>
                      <a:pt x="258" y="1124"/>
                    </a:cubicBezTo>
                    <a:cubicBezTo>
                      <a:pt x="258" y="1123"/>
                      <a:pt x="260" y="1125"/>
                      <a:pt x="262" y="1124"/>
                    </a:cubicBezTo>
                    <a:cubicBezTo>
                      <a:pt x="263" y="1124"/>
                      <a:pt x="263" y="1120"/>
                      <a:pt x="264" y="1121"/>
                    </a:cubicBezTo>
                    <a:cubicBezTo>
                      <a:pt x="266" y="1122"/>
                      <a:pt x="264" y="1125"/>
                      <a:pt x="266" y="1126"/>
                    </a:cubicBezTo>
                    <a:cubicBezTo>
                      <a:pt x="267" y="1127"/>
                      <a:pt x="267" y="1124"/>
                      <a:pt x="267" y="1123"/>
                    </a:cubicBezTo>
                    <a:cubicBezTo>
                      <a:pt x="266" y="1120"/>
                      <a:pt x="265" y="1108"/>
                      <a:pt x="269" y="1114"/>
                    </a:cubicBezTo>
                    <a:cubicBezTo>
                      <a:pt x="270" y="1114"/>
                      <a:pt x="272" y="1116"/>
                      <a:pt x="272" y="1115"/>
                    </a:cubicBezTo>
                    <a:cubicBezTo>
                      <a:pt x="273" y="1102"/>
                      <a:pt x="270" y="1099"/>
                      <a:pt x="281" y="1089"/>
                    </a:cubicBezTo>
                    <a:cubicBezTo>
                      <a:pt x="292" y="1079"/>
                      <a:pt x="303" y="1090"/>
                      <a:pt x="313" y="1086"/>
                    </a:cubicBezTo>
                    <a:cubicBezTo>
                      <a:pt x="315" y="1086"/>
                      <a:pt x="315" y="1082"/>
                      <a:pt x="317" y="1081"/>
                    </a:cubicBezTo>
                    <a:cubicBezTo>
                      <a:pt x="318" y="1080"/>
                      <a:pt x="317" y="1085"/>
                      <a:pt x="318" y="1085"/>
                    </a:cubicBezTo>
                    <a:cubicBezTo>
                      <a:pt x="324" y="1085"/>
                      <a:pt x="330" y="1082"/>
                      <a:pt x="335" y="1081"/>
                    </a:cubicBezTo>
                    <a:cubicBezTo>
                      <a:pt x="339" y="1079"/>
                      <a:pt x="337" y="1062"/>
                      <a:pt x="337" y="1060"/>
                    </a:cubicBezTo>
                    <a:cubicBezTo>
                      <a:pt x="339" y="1058"/>
                      <a:pt x="344" y="1060"/>
                      <a:pt x="346" y="1059"/>
                    </a:cubicBezTo>
                    <a:cubicBezTo>
                      <a:pt x="352" y="1056"/>
                      <a:pt x="360" y="1045"/>
                      <a:pt x="366" y="1050"/>
                    </a:cubicBezTo>
                    <a:cubicBezTo>
                      <a:pt x="369" y="1051"/>
                      <a:pt x="371" y="1055"/>
                      <a:pt x="374" y="1058"/>
                    </a:cubicBezTo>
                    <a:cubicBezTo>
                      <a:pt x="376" y="1059"/>
                      <a:pt x="383" y="1057"/>
                      <a:pt x="383" y="1062"/>
                    </a:cubicBezTo>
                    <a:cubicBezTo>
                      <a:pt x="383" y="1063"/>
                      <a:pt x="381" y="1063"/>
                      <a:pt x="381" y="1063"/>
                    </a:cubicBezTo>
                    <a:cubicBezTo>
                      <a:pt x="380" y="1068"/>
                      <a:pt x="380" y="1073"/>
                      <a:pt x="381" y="1077"/>
                    </a:cubicBezTo>
                    <a:cubicBezTo>
                      <a:pt x="381" y="1079"/>
                      <a:pt x="381" y="1074"/>
                      <a:pt x="382" y="1073"/>
                    </a:cubicBezTo>
                    <a:cubicBezTo>
                      <a:pt x="384" y="1072"/>
                      <a:pt x="385" y="1076"/>
                      <a:pt x="387" y="1077"/>
                    </a:cubicBezTo>
                    <a:cubicBezTo>
                      <a:pt x="396" y="1084"/>
                      <a:pt x="401" y="1094"/>
                      <a:pt x="404" y="1106"/>
                    </a:cubicBezTo>
                    <a:cubicBezTo>
                      <a:pt x="406" y="1118"/>
                      <a:pt x="402" y="1133"/>
                      <a:pt x="407" y="1145"/>
                    </a:cubicBezTo>
                    <a:cubicBezTo>
                      <a:pt x="409" y="1150"/>
                      <a:pt x="439" y="1140"/>
                      <a:pt x="438" y="1143"/>
                    </a:cubicBezTo>
                    <a:cubicBezTo>
                      <a:pt x="432" y="1155"/>
                      <a:pt x="414" y="1157"/>
                      <a:pt x="402" y="1162"/>
                    </a:cubicBezTo>
                    <a:cubicBezTo>
                      <a:pt x="395" y="1165"/>
                      <a:pt x="391" y="1174"/>
                      <a:pt x="383" y="1177"/>
                    </a:cubicBezTo>
                    <a:cubicBezTo>
                      <a:pt x="379" y="1179"/>
                      <a:pt x="374" y="1178"/>
                      <a:pt x="370" y="1180"/>
                    </a:cubicBezTo>
                    <a:cubicBezTo>
                      <a:pt x="366" y="1182"/>
                      <a:pt x="370" y="1189"/>
                      <a:pt x="367" y="1193"/>
                    </a:cubicBezTo>
                    <a:cubicBezTo>
                      <a:pt x="365" y="1196"/>
                      <a:pt x="360" y="1196"/>
                      <a:pt x="359" y="1200"/>
                    </a:cubicBezTo>
                    <a:cubicBezTo>
                      <a:pt x="351" y="1221"/>
                      <a:pt x="363" y="1206"/>
                      <a:pt x="366" y="1222"/>
                    </a:cubicBezTo>
                    <a:cubicBezTo>
                      <a:pt x="367" y="1223"/>
                      <a:pt x="362" y="1220"/>
                      <a:pt x="361" y="1221"/>
                    </a:cubicBezTo>
                    <a:cubicBezTo>
                      <a:pt x="357" y="1224"/>
                      <a:pt x="354" y="1228"/>
                      <a:pt x="354" y="1233"/>
                    </a:cubicBezTo>
                    <a:cubicBezTo>
                      <a:pt x="352" y="1247"/>
                      <a:pt x="369" y="1241"/>
                      <a:pt x="374" y="1242"/>
                    </a:cubicBezTo>
                    <a:cubicBezTo>
                      <a:pt x="378" y="1243"/>
                      <a:pt x="379" y="1248"/>
                      <a:pt x="383" y="1248"/>
                    </a:cubicBezTo>
                    <a:cubicBezTo>
                      <a:pt x="385" y="1248"/>
                      <a:pt x="386" y="1244"/>
                      <a:pt x="387" y="1244"/>
                    </a:cubicBezTo>
                    <a:cubicBezTo>
                      <a:pt x="391" y="1243"/>
                      <a:pt x="395" y="1243"/>
                      <a:pt x="398" y="1246"/>
                    </a:cubicBezTo>
                    <a:cubicBezTo>
                      <a:pt x="399" y="1247"/>
                      <a:pt x="393" y="1247"/>
                      <a:pt x="392" y="1248"/>
                    </a:cubicBezTo>
                    <a:cubicBezTo>
                      <a:pt x="390" y="1249"/>
                      <a:pt x="385" y="1250"/>
                      <a:pt x="384" y="1252"/>
                    </a:cubicBezTo>
                    <a:cubicBezTo>
                      <a:pt x="383" y="1254"/>
                      <a:pt x="384" y="1257"/>
                      <a:pt x="383" y="1258"/>
                    </a:cubicBezTo>
                    <a:cubicBezTo>
                      <a:pt x="375" y="1267"/>
                      <a:pt x="371" y="1257"/>
                      <a:pt x="363" y="1258"/>
                    </a:cubicBezTo>
                    <a:cubicBezTo>
                      <a:pt x="350" y="1261"/>
                      <a:pt x="365" y="1260"/>
                      <a:pt x="359" y="1264"/>
                    </a:cubicBezTo>
                    <a:cubicBezTo>
                      <a:pt x="351" y="1269"/>
                      <a:pt x="334" y="1267"/>
                      <a:pt x="337" y="1282"/>
                    </a:cubicBezTo>
                    <a:cubicBezTo>
                      <a:pt x="343" y="1312"/>
                      <a:pt x="367" y="1281"/>
                      <a:pt x="378" y="1288"/>
                    </a:cubicBezTo>
                    <a:cubicBezTo>
                      <a:pt x="381" y="1290"/>
                      <a:pt x="382" y="1295"/>
                      <a:pt x="384" y="1298"/>
                    </a:cubicBezTo>
                    <a:cubicBezTo>
                      <a:pt x="393" y="1305"/>
                      <a:pt x="422" y="1317"/>
                      <a:pt x="427" y="1322"/>
                    </a:cubicBezTo>
                    <a:cubicBezTo>
                      <a:pt x="432" y="1327"/>
                      <a:pt x="429" y="1341"/>
                      <a:pt x="436" y="1343"/>
                    </a:cubicBezTo>
                    <a:cubicBezTo>
                      <a:pt x="440" y="1344"/>
                      <a:pt x="450" y="1331"/>
                      <a:pt x="455" y="1330"/>
                    </a:cubicBezTo>
                    <a:cubicBezTo>
                      <a:pt x="456" y="1330"/>
                      <a:pt x="455" y="1334"/>
                      <a:pt x="456" y="1334"/>
                    </a:cubicBezTo>
                    <a:cubicBezTo>
                      <a:pt x="461" y="1337"/>
                      <a:pt x="466" y="1338"/>
                      <a:pt x="471" y="1341"/>
                    </a:cubicBezTo>
                    <a:cubicBezTo>
                      <a:pt x="473" y="1342"/>
                      <a:pt x="475" y="1343"/>
                      <a:pt x="478" y="1344"/>
                    </a:cubicBezTo>
                    <a:cubicBezTo>
                      <a:pt x="482" y="1345"/>
                      <a:pt x="483" y="1336"/>
                      <a:pt x="487" y="1333"/>
                    </a:cubicBezTo>
                    <a:cubicBezTo>
                      <a:pt x="491" y="1330"/>
                      <a:pt x="492" y="1337"/>
                      <a:pt x="496" y="1336"/>
                    </a:cubicBezTo>
                    <a:cubicBezTo>
                      <a:pt x="499" y="1335"/>
                      <a:pt x="506" y="1318"/>
                      <a:pt x="518" y="1326"/>
                    </a:cubicBezTo>
                    <a:cubicBezTo>
                      <a:pt x="521" y="1328"/>
                      <a:pt x="526" y="1334"/>
                      <a:pt x="523" y="1335"/>
                    </a:cubicBezTo>
                    <a:cubicBezTo>
                      <a:pt x="520" y="1338"/>
                      <a:pt x="515" y="1331"/>
                      <a:pt x="511" y="1331"/>
                    </a:cubicBezTo>
                    <a:cubicBezTo>
                      <a:pt x="508" y="1331"/>
                      <a:pt x="516" y="1334"/>
                      <a:pt x="518" y="1335"/>
                    </a:cubicBezTo>
                    <a:cubicBezTo>
                      <a:pt x="525" y="1339"/>
                      <a:pt x="526" y="1348"/>
                      <a:pt x="528" y="1355"/>
                    </a:cubicBezTo>
                    <a:cubicBezTo>
                      <a:pt x="528" y="1360"/>
                      <a:pt x="529" y="1364"/>
                      <a:pt x="528" y="1368"/>
                    </a:cubicBezTo>
                    <a:cubicBezTo>
                      <a:pt x="528" y="1369"/>
                      <a:pt x="526" y="1369"/>
                      <a:pt x="526" y="1370"/>
                    </a:cubicBezTo>
                    <a:cubicBezTo>
                      <a:pt x="525" y="1379"/>
                      <a:pt x="535" y="1380"/>
                      <a:pt x="539" y="1386"/>
                    </a:cubicBezTo>
                    <a:cubicBezTo>
                      <a:pt x="542" y="1390"/>
                      <a:pt x="539" y="1395"/>
                      <a:pt x="542" y="1398"/>
                    </a:cubicBezTo>
                    <a:cubicBezTo>
                      <a:pt x="546" y="1385"/>
                      <a:pt x="547" y="1368"/>
                      <a:pt x="553" y="1355"/>
                    </a:cubicBezTo>
                    <a:cubicBezTo>
                      <a:pt x="558" y="1344"/>
                      <a:pt x="585" y="1309"/>
                      <a:pt x="597" y="1305"/>
                    </a:cubicBezTo>
                    <a:cubicBezTo>
                      <a:pt x="604" y="1303"/>
                      <a:pt x="619" y="1301"/>
                      <a:pt x="631" y="1302"/>
                    </a:cubicBezTo>
                    <a:cubicBezTo>
                      <a:pt x="631" y="1176"/>
                      <a:pt x="631" y="1176"/>
                      <a:pt x="631" y="1176"/>
                    </a:cubicBezTo>
                    <a:cubicBezTo>
                      <a:pt x="622" y="1163"/>
                      <a:pt x="614" y="1149"/>
                      <a:pt x="605" y="1136"/>
                    </a:cubicBezTo>
                    <a:cubicBezTo>
                      <a:pt x="601" y="1129"/>
                      <a:pt x="566" y="1082"/>
                      <a:pt x="565" y="1079"/>
                    </a:cubicBezTo>
                    <a:cubicBezTo>
                      <a:pt x="565" y="1073"/>
                      <a:pt x="579" y="1058"/>
                      <a:pt x="582" y="1054"/>
                    </a:cubicBezTo>
                    <a:cubicBezTo>
                      <a:pt x="597" y="1031"/>
                      <a:pt x="612" y="1008"/>
                      <a:pt x="627" y="985"/>
                    </a:cubicBezTo>
                    <a:cubicBezTo>
                      <a:pt x="628" y="983"/>
                      <a:pt x="629" y="981"/>
                      <a:pt x="631" y="977"/>
                    </a:cubicBezTo>
                    <a:lnTo>
                      <a:pt x="631" y="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28" name="Freeform 14"/>
              <p:cNvSpPr>
                <a:spLocks/>
              </p:cNvSpPr>
              <p:nvPr/>
            </p:nvSpPr>
            <p:spPr bwMode="auto">
              <a:xfrm>
                <a:off x="6082037" y="4053976"/>
                <a:ext cx="1418770" cy="1054490"/>
              </a:xfrm>
              <a:custGeom>
                <a:avLst/>
                <a:gdLst>
                  <a:gd name="T0" fmla="*/ 788 w 849"/>
                  <a:gd name="T1" fmla="*/ 258 h 586"/>
                  <a:gd name="T2" fmla="*/ 845 w 849"/>
                  <a:gd name="T3" fmla="*/ 202 h 586"/>
                  <a:gd name="T4" fmla="*/ 845 w 849"/>
                  <a:gd name="T5" fmla="*/ 179 h 586"/>
                  <a:gd name="T6" fmla="*/ 828 w 849"/>
                  <a:gd name="T7" fmla="*/ 143 h 586"/>
                  <a:gd name="T8" fmla="*/ 820 w 849"/>
                  <a:gd name="T9" fmla="*/ 100 h 586"/>
                  <a:gd name="T10" fmla="*/ 769 w 849"/>
                  <a:gd name="T11" fmla="*/ 88 h 586"/>
                  <a:gd name="T12" fmla="*/ 730 w 849"/>
                  <a:gd name="T13" fmla="*/ 91 h 586"/>
                  <a:gd name="T14" fmla="*/ 671 w 849"/>
                  <a:gd name="T15" fmla="*/ 76 h 586"/>
                  <a:gd name="T16" fmla="*/ 590 w 849"/>
                  <a:gd name="T17" fmla="*/ 112 h 586"/>
                  <a:gd name="T18" fmla="*/ 564 w 849"/>
                  <a:gd name="T19" fmla="*/ 70 h 586"/>
                  <a:gd name="T20" fmla="*/ 530 w 849"/>
                  <a:gd name="T21" fmla="*/ 71 h 586"/>
                  <a:gd name="T22" fmla="*/ 510 w 849"/>
                  <a:gd name="T23" fmla="*/ 64 h 586"/>
                  <a:gd name="T24" fmla="*/ 487 w 849"/>
                  <a:gd name="T25" fmla="*/ 25 h 586"/>
                  <a:gd name="T26" fmla="*/ 454 w 849"/>
                  <a:gd name="T27" fmla="*/ 10 h 586"/>
                  <a:gd name="T28" fmla="*/ 390 w 849"/>
                  <a:gd name="T29" fmla="*/ 52 h 586"/>
                  <a:gd name="T30" fmla="*/ 349 w 849"/>
                  <a:gd name="T31" fmla="*/ 61 h 586"/>
                  <a:gd name="T32" fmla="*/ 313 w 849"/>
                  <a:gd name="T33" fmla="*/ 123 h 586"/>
                  <a:gd name="T34" fmla="*/ 264 w 849"/>
                  <a:gd name="T35" fmla="*/ 138 h 586"/>
                  <a:gd name="T36" fmla="*/ 221 w 849"/>
                  <a:gd name="T37" fmla="*/ 134 h 586"/>
                  <a:gd name="T38" fmla="*/ 195 w 849"/>
                  <a:gd name="T39" fmla="*/ 137 h 586"/>
                  <a:gd name="T40" fmla="*/ 112 w 849"/>
                  <a:gd name="T41" fmla="*/ 138 h 586"/>
                  <a:gd name="T42" fmla="*/ 46 w 849"/>
                  <a:gd name="T43" fmla="*/ 177 h 586"/>
                  <a:gd name="T44" fmla="*/ 30 w 849"/>
                  <a:gd name="T45" fmla="*/ 184 h 586"/>
                  <a:gd name="T46" fmla="*/ 69 w 849"/>
                  <a:gd name="T47" fmla="*/ 251 h 586"/>
                  <a:gd name="T48" fmla="*/ 31 w 849"/>
                  <a:gd name="T49" fmla="*/ 376 h 586"/>
                  <a:gd name="T50" fmla="*/ 8 w 849"/>
                  <a:gd name="T51" fmla="*/ 404 h 586"/>
                  <a:gd name="T52" fmla="*/ 29 w 849"/>
                  <a:gd name="T53" fmla="*/ 444 h 586"/>
                  <a:gd name="T54" fmla="*/ 56 w 849"/>
                  <a:gd name="T55" fmla="*/ 438 h 586"/>
                  <a:gd name="T56" fmla="*/ 146 w 849"/>
                  <a:gd name="T57" fmla="*/ 450 h 586"/>
                  <a:gd name="T58" fmla="*/ 220 w 849"/>
                  <a:gd name="T59" fmla="*/ 392 h 586"/>
                  <a:gd name="T60" fmla="*/ 227 w 849"/>
                  <a:gd name="T61" fmla="*/ 381 h 586"/>
                  <a:gd name="T62" fmla="*/ 305 w 849"/>
                  <a:gd name="T63" fmla="*/ 372 h 586"/>
                  <a:gd name="T64" fmla="*/ 341 w 849"/>
                  <a:gd name="T65" fmla="*/ 387 h 586"/>
                  <a:gd name="T66" fmla="*/ 384 w 849"/>
                  <a:gd name="T67" fmla="*/ 439 h 586"/>
                  <a:gd name="T68" fmla="*/ 426 w 849"/>
                  <a:gd name="T69" fmla="*/ 480 h 586"/>
                  <a:gd name="T70" fmla="*/ 391 w 849"/>
                  <a:gd name="T71" fmla="*/ 485 h 586"/>
                  <a:gd name="T72" fmla="*/ 381 w 849"/>
                  <a:gd name="T73" fmla="*/ 492 h 586"/>
                  <a:gd name="T74" fmla="*/ 375 w 849"/>
                  <a:gd name="T75" fmla="*/ 526 h 586"/>
                  <a:gd name="T76" fmla="*/ 352 w 849"/>
                  <a:gd name="T77" fmla="*/ 569 h 586"/>
                  <a:gd name="T78" fmla="*/ 355 w 849"/>
                  <a:gd name="T79" fmla="*/ 583 h 586"/>
                  <a:gd name="T80" fmla="*/ 425 w 849"/>
                  <a:gd name="T81" fmla="*/ 573 h 586"/>
                  <a:gd name="T82" fmla="*/ 414 w 849"/>
                  <a:gd name="T83" fmla="*/ 537 h 586"/>
                  <a:gd name="T84" fmla="*/ 428 w 849"/>
                  <a:gd name="T85" fmla="*/ 523 h 586"/>
                  <a:gd name="T86" fmla="*/ 457 w 849"/>
                  <a:gd name="T87" fmla="*/ 473 h 586"/>
                  <a:gd name="T88" fmla="*/ 494 w 849"/>
                  <a:gd name="T89" fmla="*/ 441 h 586"/>
                  <a:gd name="T90" fmla="*/ 544 w 849"/>
                  <a:gd name="T91" fmla="*/ 426 h 586"/>
                  <a:gd name="T92" fmla="*/ 501 w 849"/>
                  <a:gd name="T93" fmla="*/ 456 h 586"/>
                  <a:gd name="T94" fmla="*/ 534 w 849"/>
                  <a:gd name="T95" fmla="*/ 463 h 586"/>
                  <a:gd name="T96" fmla="*/ 573 w 849"/>
                  <a:gd name="T97" fmla="*/ 453 h 586"/>
                  <a:gd name="T98" fmla="*/ 606 w 849"/>
                  <a:gd name="T99" fmla="*/ 460 h 586"/>
                  <a:gd name="T100" fmla="*/ 577 w 849"/>
                  <a:gd name="T101" fmla="*/ 492 h 586"/>
                  <a:gd name="T102" fmla="*/ 606 w 849"/>
                  <a:gd name="T103" fmla="*/ 522 h 586"/>
                  <a:gd name="T104" fmla="*/ 637 w 849"/>
                  <a:gd name="T105" fmla="*/ 564 h 586"/>
                  <a:gd name="T106" fmla="*/ 710 w 849"/>
                  <a:gd name="T107" fmla="*/ 501 h 586"/>
                  <a:gd name="T108" fmla="*/ 738 w 849"/>
                  <a:gd name="T109" fmla="*/ 488 h 586"/>
                  <a:gd name="T110" fmla="*/ 740 w 849"/>
                  <a:gd name="T111" fmla="*/ 448 h 586"/>
                  <a:gd name="T112" fmla="*/ 714 w 849"/>
                  <a:gd name="T113" fmla="*/ 473 h 586"/>
                  <a:gd name="T114" fmla="*/ 691 w 849"/>
                  <a:gd name="T115" fmla="*/ 386 h 586"/>
                  <a:gd name="T116" fmla="*/ 741 w 849"/>
                  <a:gd name="T117" fmla="*/ 354 h 586"/>
                  <a:gd name="T118" fmla="*/ 791 w 849"/>
                  <a:gd name="T119" fmla="*/ 298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49" h="586">
                    <a:moveTo>
                      <a:pt x="797" y="293"/>
                    </a:moveTo>
                    <a:cubicBezTo>
                      <a:pt x="797" y="293"/>
                      <a:pt x="797" y="293"/>
                      <a:pt x="797" y="293"/>
                    </a:cubicBezTo>
                    <a:cubicBezTo>
                      <a:pt x="792" y="288"/>
                      <a:pt x="795" y="286"/>
                      <a:pt x="796" y="281"/>
                    </a:cubicBezTo>
                    <a:cubicBezTo>
                      <a:pt x="798" y="275"/>
                      <a:pt x="790" y="283"/>
                      <a:pt x="790" y="279"/>
                    </a:cubicBezTo>
                    <a:cubicBezTo>
                      <a:pt x="790" y="275"/>
                      <a:pt x="787" y="262"/>
                      <a:pt x="788" y="258"/>
                    </a:cubicBezTo>
                    <a:cubicBezTo>
                      <a:pt x="789" y="258"/>
                      <a:pt x="805" y="243"/>
                      <a:pt x="805" y="243"/>
                    </a:cubicBezTo>
                    <a:cubicBezTo>
                      <a:pt x="807" y="241"/>
                      <a:pt x="804" y="238"/>
                      <a:pt x="804" y="236"/>
                    </a:cubicBezTo>
                    <a:cubicBezTo>
                      <a:pt x="803" y="233"/>
                      <a:pt x="803" y="231"/>
                      <a:pt x="804" y="228"/>
                    </a:cubicBezTo>
                    <a:cubicBezTo>
                      <a:pt x="813" y="218"/>
                      <a:pt x="839" y="223"/>
                      <a:pt x="847" y="211"/>
                    </a:cubicBezTo>
                    <a:cubicBezTo>
                      <a:pt x="849" y="208"/>
                      <a:pt x="846" y="205"/>
                      <a:pt x="845" y="202"/>
                    </a:cubicBezTo>
                    <a:cubicBezTo>
                      <a:pt x="844" y="201"/>
                      <a:pt x="842" y="201"/>
                      <a:pt x="842" y="199"/>
                    </a:cubicBezTo>
                    <a:cubicBezTo>
                      <a:pt x="842" y="198"/>
                      <a:pt x="846" y="198"/>
                      <a:pt x="846" y="197"/>
                    </a:cubicBezTo>
                    <a:cubicBezTo>
                      <a:pt x="846" y="195"/>
                      <a:pt x="843" y="194"/>
                      <a:pt x="843" y="192"/>
                    </a:cubicBezTo>
                    <a:cubicBezTo>
                      <a:pt x="842" y="189"/>
                      <a:pt x="843" y="186"/>
                      <a:pt x="843" y="182"/>
                    </a:cubicBezTo>
                    <a:cubicBezTo>
                      <a:pt x="843" y="181"/>
                      <a:pt x="845" y="180"/>
                      <a:pt x="845" y="179"/>
                    </a:cubicBezTo>
                    <a:cubicBezTo>
                      <a:pt x="847" y="172"/>
                      <a:pt x="837" y="178"/>
                      <a:pt x="837" y="178"/>
                    </a:cubicBezTo>
                    <a:cubicBezTo>
                      <a:pt x="835" y="177"/>
                      <a:pt x="839" y="174"/>
                      <a:pt x="838" y="172"/>
                    </a:cubicBezTo>
                    <a:cubicBezTo>
                      <a:pt x="836" y="168"/>
                      <a:pt x="833" y="164"/>
                      <a:pt x="830" y="161"/>
                    </a:cubicBezTo>
                    <a:cubicBezTo>
                      <a:pt x="826" y="157"/>
                      <a:pt x="820" y="167"/>
                      <a:pt x="819" y="160"/>
                    </a:cubicBezTo>
                    <a:cubicBezTo>
                      <a:pt x="816" y="142"/>
                      <a:pt x="818" y="147"/>
                      <a:pt x="828" y="143"/>
                    </a:cubicBezTo>
                    <a:cubicBezTo>
                      <a:pt x="829" y="142"/>
                      <a:pt x="833" y="133"/>
                      <a:pt x="830" y="134"/>
                    </a:cubicBezTo>
                    <a:cubicBezTo>
                      <a:pt x="822" y="135"/>
                      <a:pt x="818" y="141"/>
                      <a:pt x="811" y="135"/>
                    </a:cubicBezTo>
                    <a:cubicBezTo>
                      <a:pt x="804" y="129"/>
                      <a:pt x="817" y="128"/>
                      <a:pt x="818" y="125"/>
                    </a:cubicBezTo>
                    <a:cubicBezTo>
                      <a:pt x="820" y="123"/>
                      <a:pt x="818" y="120"/>
                      <a:pt x="818" y="118"/>
                    </a:cubicBezTo>
                    <a:cubicBezTo>
                      <a:pt x="820" y="111"/>
                      <a:pt x="827" y="107"/>
                      <a:pt x="820" y="100"/>
                    </a:cubicBezTo>
                    <a:cubicBezTo>
                      <a:pt x="818" y="97"/>
                      <a:pt x="814" y="96"/>
                      <a:pt x="812" y="94"/>
                    </a:cubicBezTo>
                    <a:cubicBezTo>
                      <a:pt x="809" y="91"/>
                      <a:pt x="816" y="83"/>
                      <a:pt x="811" y="83"/>
                    </a:cubicBezTo>
                    <a:cubicBezTo>
                      <a:pt x="800" y="82"/>
                      <a:pt x="807" y="91"/>
                      <a:pt x="799" y="93"/>
                    </a:cubicBezTo>
                    <a:cubicBezTo>
                      <a:pt x="770" y="98"/>
                      <a:pt x="806" y="89"/>
                      <a:pt x="783" y="85"/>
                    </a:cubicBezTo>
                    <a:cubicBezTo>
                      <a:pt x="775" y="84"/>
                      <a:pt x="775" y="92"/>
                      <a:pt x="769" y="88"/>
                    </a:cubicBezTo>
                    <a:cubicBezTo>
                      <a:pt x="766" y="87"/>
                      <a:pt x="765" y="85"/>
                      <a:pt x="763" y="83"/>
                    </a:cubicBezTo>
                    <a:cubicBezTo>
                      <a:pt x="758" y="79"/>
                      <a:pt x="760" y="92"/>
                      <a:pt x="754" y="92"/>
                    </a:cubicBezTo>
                    <a:cubicBezTo>
                      <a:pt x="750" y="92"/>
                      <a:pt x="746" y="91"/>
                      <a:pt x="742" y="90"/>
                    </a:cubicBezTo>
                    <a:cubicBezTo>
                      <a:pt x="740" y="88"/>
                      <a:pt x="739" y="85"/>
                      <a:pt x="737" y="85"/>
                    </a:cubicBezTo>
                    <a:cubicBezTo>
                      <a:pt x="734" y="85"/>
                      <a:pt x="733" y="91"/>
                      <a:pt x="730" y="91"/>
                    </a:cubicBezTo>
                    <a:cubicBezTo>
                      <a:pt x="726" y="91"/>
                      <a:pt x="723" y="87"/>
                      <a:pt x="718" y="86"/>
                    </a:cubicBezTo>
                    <a:cubicBezTo>
                      <a:pt x="704" y="84"/>
                      <a:pt x="726" y="106"/>
                      <a:pt x="710" y="103"/>
                    </a:cubicBezTo>
                    <a:cubicBezTo>
                      <a:pt x="706" y="103"/>
                      <a:pt x="705" y="98"/>
                      <a:pt x="702" y="96"/>
                    </a:cubicBezTo>
                    <a:cubicBezTo>
                      <a:pt x="700" y="95"/>
                      <a:pt x="696" y="96"/>
                      <a:pt x="693" y="95"/>
                    </a:cubicBezTo>
                    <a:cubicBezTo>
                      <a:pt x="685" y="92"/>
                      <a:pt x="679" y="82"/>
                      <a:pt x="671" y="76"/>
                    </a:cubicBezTo>
                    <a:cubicBezTo>
                      <a:pt x="669" y="74"/>
                      <a:pt x="648" y="96"/>
                      <a:pt x="641" y="106"/>
                    </a:cubicBezTo>
                    <a:cubicBezTo>
                      <a:pt x="639" y="109"/>
                      <a:pt x="633" y="103"/>
                      <a:pt x="629" y="103"/>
                    </a:cubicBezTo>
                    <a:cubicBezTo>
                      <a:pt x="627" y="103"/>
                      <a:pt x="627" y="106"/>
                      <a:pt x="625" y="107"/>
                    </a:cubicBezTo>
                    <a:cubicBezTo>
                      <a:pt x="622" y="109"/>
                      <a:pt x="620" y="102"/>
                      <a:pt x="616" y="101"/>
                    </a:cubicBezTo>
                    <a:cubicBezTo>
                      <a:pt x="603" y="98"/>
                      <a:pt x="600" y="117"/>
                      <a:pt x="590" y="112"/>
                    </a:cubicBezTo>
                    <a:cubicBezTo>
                      <a:pt x="586" y="111"/>
                      <a:pt x="583" y="108"/>
                      <a:pt x="580" y="105"/>
                    </a:cubicBezTo>
                    <a:cubicBezTo>
                      <a:pt x="578" y="103"/>
                      <a:pt x="576" y="100"/>
                      <a:pt x="575" y="97"/>
                    </a:cubicBezTo>
                    <a:cubicBezTo>
                      <a:pt x="575" y="95"/>
                      <a:pt x="579" y="95"/>
                      <a:pt x="578" y="93"/>
                    </a:cubicBezTo>
                    <a:cubicBezTo>
                      <a:pt x="578" y="91"/>
                      <a:pt x="563" y="78"/>
                      <a:pt x="563" y="76"/>
                    </a:cubicBezTo>
                    <a:cubicBezTo>
                      <a:pt x="562" y="74"/>
                      <a:pt x="566" y="72"/>
                      <a:pt x="564" y="70"/>
                    </a:cubicBezTo>
                    <a:cubicBezTo>
                      <a:pt x="564" y="70"/>
                      <a:pt x="563" y="70"/>
                      <a:pt x="562" y="70"/>
                    </a:cubicBezTo>
                    <a:cubicBezTo>
                      <a:pt x="560" y="70"/>
                      <a:pt x="558" y="72"/>
                      <a:pt x="556" y="72"/>
                    </a:cubicBezTo>
                    <a:cubicBezTo>
                      <a:pt x="552" y="73"/>
                      <a:pt x="551" y="66"/>
                      <a:pt x="549" y="63"/>
                    </a:cubicBezTo>
                    <a:cubicBezTo>
                      <a:pt x="549" y="62"/>
                      <a:pt x="547" y="62"/>
                      <a:pt x="546" y="62"/>
                    </a:cubicBezTo>
                    <a:cubicBezTo>
                      <a:pt x="544" y="64"/>
                      <a:pt x="532" y="71"/>
                      <a:pt x="530" y="71"/>
                    </a:cubicBezTo>
                    <a:cubicBezTo>
                      <a:pt x="529" y="72"/>
                      <a:pt x="529" y="68"/>
                      <a:pt x="527" y="68"/>
                    </a:cubicBezTo>
                    <a:cubicBezTo>
                      <a:pt x="523" y="68"/>
                      <a:pt x="519" y="69"/>
                      <a:pt x="516" y="70"/>
                    </a:cubicBezTo>
                    <a:cubicBezTo>
                      <a:pt x="515" y="70"/>
                      <a:pt x="511" y="78"/>
                      <a:pt x="508" y="73"/>
                    </a:cubicBezTo>
                    <a:cubicBezTo>
                      <a:pt x="508" y="72"/>
                      <a:pt x="510" y="70"/>
                      <a:pt x="510" y="69"/>
                    </a:cubicBezTo>
                    <a:cubicBezTo>
                      <a:pt x="511" y="68"/>
                      <a:pt x="511" y="65"/>
                      <a:pt x="510" y="64"/>
                    </a:cubicBezTo>
                    <a:cubicBezTo>
                      <a:pt x="508" y="62"/>
                      <a:pt x="506" y="64"/>
                      <a:pt x="504" y="62"/>
                    </a:cubicBezTo>
                    <a:cubicBezTo>
                      <a:pt x="501" y="60"/>
                      <a:pt x="504" y="55"/>
                      <a:pt x="502" y="52"/>
                    </a:cubicBezTo>
                    <a:cubicBezTo>
                      <a:pt x="500" y="49"/>
                      <a:pt x="492" y="48"/>
                      <a:pt x="494" y="44"/>
                    </a:cubicBezTo>
                    <a:cubicBezTo>
                      <a:pt x="496" y="42"/>
                      <a:pt x="509" y="39"/>
                      <a:pt x="506" y="34"/>
                    </a:cubicBezTo>
                    <a:cubicBezTo>
                      <a:pt x="501" y="27"/>
                      <a:pt x="490" y="27"/>
                      <a:pt x="487" y="25"/>
                    </a:cubicBezTo>
                    <a:cubicBezTo>
                      <a:pt x="485" y="23"/>
                      <a:pt x="483" y="21"/>
                      <a:pt x="482" y="18"/>
                    </a:cubicBezTo>
                    <a:cubicBezTo>
                      <a:pt x="481" y="16"/>
                      <a:pt x="483" y="13"/>
                      <a:pt x="482" y="12"/>
                    </a:cubicBezTo>
                    <a:cubicBezTo>
                      <a:pt x="480" y="10"/>
                      <a:pt x="476" y="10"/>
                      <a:pt x="474" y="8"/>
                    </a:cubicBezTo>
                    <a:cubicBezTo>
                      <a:pt x="470" y="6"/>
                      <a:pt x="469" y="1"/>
                      <a:pt x="465" y="1"/>
                    </a:cubicBezTo>
                    <a:cubicBezTo>
                      <a:pt x="460" y="0"/>
                      <a:pt x="459" y="10"/>
                      <a:pt x="454" y="10"/>
                    </a:cubicBezTo>
                    <a:cubicBezTo>
                      <a:pt x="452" y="10"/>
                      <a:pt x="452" y="6"/>
                      <a:pt x="451" y="6"/>
                    </a:cubicBezTo>
                    <a:cubicBezTo>
                      <a:pt x="429" y="4"/>
                      <a:pt x="442" y="17"/>
                      <a:pt x="429" y="22"/>
                    </a:cubicBezTo>
                    <a:cubicBezTo>
                      <a:pt x="429" y="22"/>
                      <a:pt x="405" y="24"/>
                      <a:pt x="404" y="24"/>
                    </a:cubicBezTo>
                    <a:cubicBezTo>
                      <a:pt x="403" y="24"/>
                      <a:pt x="407" y="41"/>
                      <a:pt x="402" y="46"/>
                    </a:cubicBezTo>
                    <a:cubicBezTo>
                      <a:pt x="399" y="49"/>
                      <a:pt x="395" y="52"/>
                      <a:pt x="390" y="52"/>
                    </a:cubicBezTo>
                    <a:cubicBezTo>
                      <a:pt x="388" y="52"/>
                      <a:pt x="389" y="49"/>
                      <a:pt x="387" y="48"/>
                    </a:cubicBezTo>
                    <a:cubicBezTo>
                      <a:pt x="386" y="47"/>
                      <a:pt x="384" y="50"/>
                      <a:pt x="383" y="49"/>
                    </a:cubicBezTo>
                    <a:cubicBezTo>
                      <a:pt x="377" y="51"/>
                      <a:pt x="370" y="51"/>
                      <a:pt x="365" y="54"/>
                    </a:cubicBezTo>
                    <a:cubicBezTo>
                      <a:pt x="362" y="55"/>
                      <a:pt x="364" y="59"/>
                      <a:pt x="361" y="60"/>
                    </a:cubicBezTo>
                    <a:cubicBezTo>
                      <a:pt x="358" y="62"/>
                      <a:pt x="353" y="60"/>
                      <a:pt x="349" y="61"/>
                    </a:cubicBezTo>
                    <a:cubicBezTo>
                      <a:pt x="347" y="62"/>
                      <a:pt x="343" y="68"/>
                      <a:pt x="340" y="83"/>
                    </a:cubicBezTo>
                    <a:cubicBezTo>
                      <a:pt x="340" y="87"/>
                      <a:pt x="339" y="98"/>
                      <a:pt x="339" y="103"/>
                    </a:cubicBezTo>
                    <a:cubicBezTo>
                      <a:pt x="339" y="109"/>
                      <a:pt x="361" y="124"/>
                      <a:pt x="347" y="127"/>
                    </a:cubicBezTo>
                    <a:cubicBezTo>
                      <a:pt x="332" y="130"/>
                      <a:pt x="339" y="116"/>
                      <a:pt x="326" y="115"/>
                    </a:cubicBezTo>
                    <a:cubicBezTo>
                      <a:pt x="300" y="113"/>
                      <a:pt x="331" y="120"/>
                      <a:pt x="313" y="123"/>
                    </a:cubicBezTo>
                    <a:cubicBezTo>
                      <a:pt x="310" y="124"/>
                      <a:pt x="307" y="120"/>
                      <a:pt x="304" y="120"/>
                    </a:cubicBezTo>
                    <a:cubicBezTo>
                      <a:pt x="295" y="122"/>
                      <a:pt x="300" y="132"/>
                      <a:pt x="292" y="134"/>
                    </a:cubicBezTo>
                    <a:cubicBezTo>
                      <a:pt x="287" y="135"/>
                      <a:pt x="283" y="120"/>
                      <a:pt x="278" y="117"/>
                    </a:cubicBezTo>
                    <a:cubicBezTo>
                      <a:pt x="274" y="115"/>
                      <a:pt x="268" y="123"/>
                      <a:pt x="265" y="128"/>
                    </a:cubicBezTo>
                    <a:cubicBezTo>
                      <a:pt x="263" y="130"/>
                      <a:pt x="267" y="139"/>
                      <a:pt x="264" y="138"/>
                    </a:cubicBezTo>
                    <a:cubicBezTo>
                      <a:pt x="252" y="135"/>
                      <a:pt x="270" y="139"/>
                      <a:pt x="255" y="129"/>
                    </a:cubicBezTo>
                    <a:cubicBezTo>
                      <a:pt x="247" y="123"/>
                      <a:pt x="250" y="134"/>
                      <a:pt x="245" y="134"/>
                    </a:cubicBezTo>
                    <a:cubicBezTo>
                      <a:pt x="231" y="134"/>
                      <a:pt x="243" y="129"/>
                      <a:pt x="238" y="126"/>
                    </a:cubicBezTo>
                    <a:cubicBezTo>
                      <a:pt x="235" y="124"/>
                      <a:pt x="235" y="133"/>
                      <a:pt x="232" y="135"/>
                    </a:cubicBezTo>
                    <a:cubicBezTo>
                      <a:pt x="229" y="139"/>
                      <a:pt x="224" y="134"/>
                      <a:pt x="221" y="134"/>
                    </a:cubicBezTo>
                    <a:cubicBezTo>
                      <a:pt x="218" y="134"/>
                      <a:pt x="221" y="145"/>
                      <a:pt x="218" y="146"/>
                    </a:cubicBezTo>
                    <a:cubicBezTo>
                      <a:pt x="218" y="147"/>
                      <a:pt x="216" y="146"/>
                      <a:pt x="215" y="145"/>
                    </a:cubicBezTo>
                    <a:cubicBezTo>
                      <a:pt x="207" y="141"/>
                      <a:pt x="228" y="131"/>
                      <a:pt x="205" y="137"/>
                    </a:cubicBezTo>
                    <a:cubicBezTo>
                      <a:pt x="198" y="139"/>
                      <a:pt x="209" y="148"/>
                      <a:pt x="194" y="142"/>
                    </a:cubicBezTo>
                    <a:cubicBezTo>
                      <a:pt x="193" y="142"/>
                      <a:pt x="196" y="138"/>
                      <a:pt x="195" y="137"/>
                    </a:cubicBezTo>
                    <a:cubicBezTo>
                      <a:pt x="194" y="136"/>
                      <a:pt x="192" y="139"/>
                      <a:pt x="190" y="138"/>
                    </a:cubicBezTo>
                    <a:cubicBezTo>
                      <a:pt x="187" y="135"/>
                      <a:pt x="192" y="130"/>
                      <a:pt x="185" y="131"/>
                    </a:cubicBezTo>
                    <a:cubicBezTo>
                      <a:pt x="172" y="135"/>
                      <a:pt x="155" y="137"/>
                      <a:pt x="141" y="135"/>
                    </a:cubicBezTo>
                    <a:cubicBezTo>
                      <a:pt x="139" y="134"/>
                      <a:pt x="138" y="132"/>
                      <a:pt x="137" y="132"/>
                    </a:cubicBezTo>
                    <a:cubicBezTo>
                      <a:pt x="129" y="131"/>
                      <a:pt x="121" y="137"/>
                      <a:pt x="112" y="138"/>
                    </a:cubicBezTo>
                    <a:cubicBezTo>
                      <a:pt x="110" y="138"/>
                      <a:pt x="107" y="138"/>
                      <a:pt x="104" y="138"/>
                    </a:cubicBezTo>
                    <a:cubicBezTo>
                      <a:pt x="101" y="138"/>
                      <a:pt x="98" y="137"/>
                      <a:pt x="95" y="137"/>
                    </a:cubicBezTo>
                    <a:cubicBezTo>
                      <a:pt x="88" y="139"/>
                      <a:pt x="83" y="145"/>
                      <a:pt x="76" y="148"/>
                    </a:cubicBezTo>
                    <a:cubicBezTo>
                      <a:pt x="72" y="150"/>
                      <a:pt x="66" y="148"/>
                      <a:pt x="61" y="151"/>
                    </a:cubicBezTo>
                    <a:cubicBezTo>
                      <a:pt x="59" y="152"/>
                      <a:pt x="51" y="179"/>
                      <a:pt x="46" y="177"/>
                    </a:cubicBezTo>
                    <a:cubicBezTo>
                      <a:pt x="44" y="177"/>
                      <a:pt x="44" y="174"/>
                      <a:pt x="43" y="174"/>
                    </a:cubicBezTo>
                    <a:cubicBezTo>
                      <a:pt x="39" y="173"/>
                      <a:pt x="35" y="173"/>
                      <a:pt x="33" y="174"/>
                    </a:cubicBezTo>
                    <a:cubicBezTo>
                      <a:pt x="23" y="177"/>
                      <a:pt x="37" y="182"/>
                      <a:pt x="30" y="184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30" y="184"/>
                      <a:pt x="30" y="184"/>
                      <a:pt x="30" y="184"/>
                    </a:cubicBezTo>
                    <a:cubicBezTo>
                      <a:pt x="31" y="186"/>
                      <a:pt x="34" y="188"/>
                      <a:pt x="35" y="190"/>
                    </a:cubicBezTo>
                    <a:cubicBezTo>
                      <a:pt x="36" y="194"/>
                      <a:pt x="34" y="198"/>
                      <a:pt x="35" y="201"/>
                    </a:cubicBezTo>
                    <a:cubicBezTo>
                      <a:pt x="40" y="211"/>
                      <a:pt x="56" y="222"/>
                      <a:pt x="65" y="229"/>
                    </a:cubicBezTo>
                    <a:cubicBezTo>
                      <a:pt x="67" y="231"/>
                      <a:pt x="54" y="230"/>
                      <a:pt x="57" y="236"/>
                    </a:cubicBezTo>
                    <a:cubicBezTo>
                      <a:pt x="57" y="236"/>
                      <a:pt x="69" y="246"/>
                      <a:pt x="69" y="251"/>
                    </a:cubicBezTo>
                    <a:cubicBezTo>
                      <a:pt x="67" y="271"/>
                      <a:pt x="61" y="259"/>
                      <a:pt x="51" y="267"/>
                    </a:cubicBezTo>
                    <a:cubicBezTo>
                      <a:pt x="46" y="271"/>
                      <a:pt x="12" y="335"/>
                      <a:pt x="13" y="340"/>
                    </a:cubicBezTo>
                    <a:cubicBezTo>
                      <a:pt x="14" y="346"/>
                      <a:pt x="20" y="350"/>
                      <a:pt x="22" y="356"/>
                    </a:cubicBezTo>
                    <a:cubicBezTo>
                      <a:pt x="22" y="359"/>
                      <a:pt x="18" y="363"/>
                      <a:pt x="20" y="365"/>
                    </a:cubicBezTo>
                    <a:cubicBezTo>
                      <a:pt x="30" y="377"/>
                      <a:pt x="24" y="354"/>
                      <a:pt x="31" y="376"/>
                    </a:cubicBezTo>
                    <a:cubicBezTo>
                      <a:pt x="31" y="377"/>
                      <a:pt x="29" y="374"/>
                      <a:pt x="28" y="374"/>
                    </a:cubicBezTo>
                    <a:cubicBezTo>
                      <a:pt x="25" y="373"/>
                      <a:pt x="22" y="374"/>
                      <a:pt x="20" y="374"/>
                    </a:cubicBezTo>
                    <a:cubicBezTo>
                      <a:pt x="18" y="374"/>
                      <a:pt x="16" y="374"/>
                      <a:pt x="14" y="373"/>
                    </a:cubicBezTo>
                    <a:cubicBezTo>
                      <a:pt x="14" y="379"/>
                      <a:pt x="10" y="387"/>
                      <a:pt x="10" y="392"/>
                    </a:cubicBezTo>
                    <a:cubicBezTo>
                      <a:pt x="9" y="396"/>
                      <a:pt x="10" y="400"/>
                      <a:pt x="8" y="404"/>
                    </a:cubicBezTo>
                    <a:cubicBezTo>
                      <a:pt x="7" y="408"/>
                      <a:pt x="1" y="409"/>
                      <a:pt x="1" y="413"/>
                    </a:cubicBezTo>
                    <a:cubicBezTo>
                      <a:pt x="0" y="417"/>
                      <a:pt x="3" y="421"/>
                      <a:pt x="3" y="425"/>
                    </a:cubicBezTo>
                    <a:cubicBezTo>
                      <a:pt x="16" y="426"/>
                      <a:pt x="7" y="432"/>
                      <a:pt x="16" y="435"/>
                    </a:cubicBezTo>
                    <a:cubicBezTo>
                      <a:pt x="18" y="436"/>
                      <a:pt x="20" y="433"/>
                      <a:pt x="22" y="434"/>
                    </a:cubicBezTo>
                    <a:cubicBezTo>
                      <a:pt x="25" y="436"/>
                      <a:pt x="26" y="442"/>
                      <a:pt x="29" y="444"/>
                    </a:cubicBezTo>
                    <a:cubicBezTo>
                      <a:pt x="31" y="445"/>
                      <a:pt x="33" y="442"/>
                      <a:pt x="35" y="442"/>
                    </a:cubicBezTo>
                    <a:cubicBezTo>
                      <a:pt x="37" y="442"/>
                      <a:pt x="39" y="443"/>
                      <a:pt x="40" y="443"/>
                    </a:cubicBezTo>
                    <a:cubicBezTo>
                      <a:pt x="47" y="448"/>
                      <a:pt x="38" y="447"/>
                      <a:pt x="45" y="453"/>
                    </a:cubicBezTo>
                    <a:cubicBezTo>
                      <a:pt x="47" y="454"/>
                      <a:pt x="50" y="452"/>
                      <a:pt x="54" y="441"/>
                    </a:cubicBezTo>
                    <a:cubicBezTo>
                      <a:pt x="55" y="440"/>
                      <a:pt x="55" y="438"/>
                      <a:pt x="56" y="438"/>
                    </a:cubicBezTo>
                    <a:cubicBezTo>
                      <a:pt x="57" y="438"/>
                      <a:pt x="72" y="445"/>
                      <a:pt x="73" y="445"/>
                    </a:cubicBezTo>
                    <a:cubicBezTo>
                      <a:pt x="74" y="445"/>
                      <a:pt x="75" y="442"/>
                      <a:pt x="76" y="442"/>
                    </a:cubicBezTo>
                    <a:cubicBezTo>
                      <a:pt x="83" y="439"/>
                      <a:pt x="102" y="446"/>
                      <a:pt x="111" y="444"/>
                    </a:cubicBezTo>
                    <a:cubicBezTo>
                      <a:pt x="116" y="442"/>
                      <a:pt x="120" y="438"/>
                      <a:pt x="125" y="437"/>
                    </a:cubicBezTo>
                    <a:cubicBezTo>
                      <a:pt x="134" y="436"/>
                      <a:pt x="140" y="448"/>
                      <a:pt x="146" y="450"/>
                    </a:cubicBezTo>
                    <a:cubicBezTo>
                      <a:pt x="155" y="453"/>
                      <a:pt x="158" y="437"/>
                      <a:pt x="160" y="435"/>
                    </a:cubicBezTo>
                    <a:cubicBezTo>
                      <a:pt x="170" y="424"/>
                      <a:pt x="196" y="425"/>
                      <a:pt x="204" y="417"/>
                    </a:cubicBezTo>
                    <a:cubicBezTo>
                      <a:pt x="219" y="403"/>
                      <a:pt x="197" y="415"/>
                      <a:pt x="208" y="401"/>
                    </a:cubicBezTo>
                    <a:cubicBezTo>
                      <a:pt x="211" y="397"/>
                      <a:pt x="215" y="395"/>
                      <a:pt x="220" y="393"/>
                    </a:cubicBezTo>
                    <a:cubicBezTo>
                      <a:pt x="220" y="392"/>
                      <a:pt x="220" y="392"/>
                      <a:pt x="220" y="392"/>
                    </a:cubicBezTo>
                    <a:cubicBezTo>
                      <a:pt x="223" y="387"/>
                      <a:pt x="223" y="387"/>
                      <a:pt x="223" y="387"/>
                    </a:cubicBezTo>
                    <a:cubicBezTo>
                      <a:pt x="223" y="386"/>
                      <a:pt x="223" y="386"/>
                      <a:pt x="223" y="386"/>
                    </a:cubicBezTo>
                    <a:cubicBezTo>
                      <a:pt x="223" y="383"/>
                      <a:pt x="223" y="383"/>
                      <a:pt x="223" y="383"/>
                    </a:cubicBezTo>
                    <a:cubicBezTo>
                      <a:pt x="229" y="384"/>
                      <a:pt x="229" y="384"/>
                      <a:pt x="229" y="384"/>
                    </a:cubicBezTo>
                    <a:cubicBezTo>
                      <a:pt x="228" y="383"/>
                      <a:pt x="227" y="382"/>
                      <a:pt x="227" y="381"/>
                    </a:cubicBezTo>
                    <a:cubicBezTo>
                      <a:pt x="227" y="380"/>
                      <a:pt x="249" y="378"/>
                      <a:pt x="250" y="377"/>
                    </a:cubicBezTo>
                    <a:cubicBezTo>
                      <a:pt x="261" y="372"/>
                      <a:pt x="257" y="363"/>
                      <a:pt x="272" y="365"/>
                    </a:cubicBezTo>
                    <a:cubicBezTo>
                      <a:pt x="279" y="365"/>
                      <a:pt x="285" y="367"/>
                      <a:pt x="291" y="371"/>
                    </a:cubicBezTo>
                    <a:cubicBezTo>
                      <a:pt x="292" y="373"/>
                      <a:pt x="291" y="376"/>
                      <a:pt x="292" y="376"/>
                    </a:cubicBezTo>
                    <a:cubicBezTo>
                      <a:pt x="296" y="376"/>
                      <a:pt x="300" y="373"/>
                      <a:pt x="305" y="372"/>
                    </a:cubicBezTo>
                    <a:cubicBezTo>
                      <a:pt x="307" y="371"/>
                      <a:pt x="304" y="377"/>
                      <a:pt x="305" y="379"/>
                    </a:cubicBezTo>
                    <a:cubicBezTo>
                      <a:pt x="306" y="384"/>
                      <a:pt x="309" y="375"/>
                      <a:pt x="310" y="376"/>
                    </a:cubicBezTo>
                    <a:cubicBezTo>
                      <a:pt x="311" y="379"/>
                      <a:pt x="311" y="382"/>
                      <a:pt x="313" y="383"/>
                    </a:cubicBezTo>
                    <a:cubicBezTo>
                      <a:pt x="315" y="386"/>
                      <a:pt x="313" y="376"/>
                      <a:pt x="317" y="375"/>
                    </a:cubicBezTo>
                    <a:cubicBezTo>
                      <a:pt x="336" y="370"/>
                      <a:pt x="327" y="381"/>
                      <a:pt x="341" y="387"/>
                    </a:cubicBezTo>
                    <a:cubicBezTo>
                      <a:pt x="347" y="389"/>
                      <a:pt x="343" y="378"/>
                      <a:pt x="348" y="380"/>
                    </a:cubicBezTo>
                    <a:cubicBezTo>
                      <a:pt x="361" y="389"/>
                      <a:pt x="352" y="401"/>
                      <a:pt x="356" y="413"/>
                    </a:cubicBezTo>
                    <a:cubicBezTo>
                      <a:pt x="356" y="416"/>
                      <a:pt x="370" y="426"/>
                      <a:pt x="374" y="427"/>
                    </a:cubicBezTo>
                    <a:cubicBezTo>
                      <a:pt x="381" y="430"/>
                      <a:pt x="372" y="417"/>
                      <a:pt x="380" y="422"/>
                    </a:cubicBezTo>
                    <a:cubicBezTo>
                      <a:pt x="390" y="427"/>
                      <a:pt x="377" y="443"/>
                      <a:pt x="384" y="439"/>
                    </a:cubicBezTo>
                    <a:cubicBezTo>
                      <a:pt x="387" y="437"/>
                      <a:pt x="386" y="446"/>
                      <a:pt x="388" y="448"/>
                    </a:cubicBezTo>
                    <a:cubicBezTo>
                      <a:pt x="391" y="451"/>
                      <a:pt x="405" y="451"/>
                      <a:pt x="409" y="454"/>
                    </a:cubicBezTo>
                    <a:cubicBezTo>
                      <a:pt x="414" y="472"/>
                      <a:pt x="414" y="472"/>
                      <a:pt x="414" y="472"/>
                    </a:cubicBezTo>
                    <a:cubicBezTo>
                      <a:pt x="414" y="473"/>
                      <a:pt x="411" y="473"/>
                      <a:pt x="412" y="474"/>
                    </a:cubicBezTo>
                    <a:cubicBezTo>
                      <a:pt x="413" y="478"/>
                      <a:pt x="426" y="479"/>
                      <a:pt x="426" y="480"/>
                    </a:cubicBezTo>
                    <a:cubicBezTo>
                      <a:pt x="422" y="482"/>
                      <a:pt x="418" y="483"/>
                      <a:pt x="416" y="485"/>
                    </a:cubicBezTo>
                    <a:cubicBezTo>
                      <a:pt x="414" y="486"/>
                      <a:pt x="415" y="487"/>
                      <a:pt x="414" y="489"/>
                    </a:cubicBezTo>
                    <a:cubicBezTo>
                      <a:pt x="412" y="491"/>
                      <a:pt x="409" y="481"/>
                      <a:pt x="404" y="481"/>
                    </a:cubicBezTo>
                    <a:cubicBezTo>
                      <a:pt x="401" y="481"/>
                      <a:pt x="404" y="491"/>
                      <a:pt x="401" y="491"/>
                    </a:cubicBezTo>
                    <a:cubicBezTo>
                      <a:pt x="399" y="490"/>
                      <a:pt x="391" y="485"/>
                      <a:pt x="391" y="485"/>
                    </a:cubicBezTo>
                    <a:cubicBezTo>
                      <a:pt x="390" y="486"/>
                      <a:pt x="391" y="490"/>
                      <a:pt x="388" y="490"/>
                    </a:cubicBezTo>
                    <a:cubicBezTo>
                      <a:pt x="387" y="491"/>
                      <a:pt x="387" y="486"/>
                      <a:pt x="386" y="487"/>
                    </a:cubicBezTo>
                    <a:cubicBezTo>
                      <a:pt x="383" y="490"/>
                      <a:pt x="384" y="494"/>
                      <a:pt x="382" y="496"/>
                    </a:cubicBezTo>
                    <a:cubicBezTo>
                      <a:pt x="382" y="496"/>
                      <a:pt x="381" y="496"/>
                      <a:pt x="380" y="495"/>
                    </a:cubicBezTo>
                    <a:cubicBezTo>
                      <a:pt x="380" y="494"/>
                      <a:pt x="381" y="494"/>
                      <a:pt x="381" y="492"/>
                    </a:cubicBezTo>
                    <a:cubicBezTo>
                      <a:pt x="381" y="490"/>
                      <a:pt x="379" y="487"/>
                      <a:pt x="378" y="485"/>
                    </a:cubicBezTo>
                    <a:cubicBezTo>
                      <a:pt x="376" y="481"/>
                      <a:pt x="371" y="489"/>
                      <a:pt x="368" y="492"/>
                    </a:cubicBezTo>
                    <a:cubicBezTo>
                      <a:pt x="360" y="502"/>
                      <a:pt x="374" y="506"/>
                      <a:pt x="375" y="511"/>
                    </a:cubicBezTo>
                    <a:cubicBezTo>
                      <a:pt x="376" y="513"/>
                      <a:pt x="373" y="516"/>
                      <a:pt x="373" y="519"/>
                    </a:cubicBezTo>
                    <a:cubicBezTo>
                      <a:pt x="373" y="522"/>
                      <a:pt x="377" y="524"/>
                      <a:pt x="375" y="526"/>
                    </a:cubicBezTo>
                    <a:cubicBezTo>
                      <a:pt x="374" y="529"/>
                      <a:pt x="370" y="529"/>
                      <a:pt x="368" y="531"/>
                    </a:cubicBezTo>
                    <a:cubicBezTo>
                      <a:pt x="363" y="535"/>
                      <a:pt x="371" y="537"/>
                      <a:pt x="368" y="541"/>
                    </a:cubicBezTo>
                    <a:cubicBezTo>
                      <a:pt x="366" y="544"/>
                      <a:pt x="362" y="546"/>
                      <a:pt x="361" y="548"/>
                    </a:cubicBezTo>
                    <a:cubicBezTo>
                      <a:pt x="356" y="556"/>
                      <a:pt x="364" y="568"/>
                      <a:pt x="360" y="569"/>
                    </a:cubicBezTo>
                    <a:cubicBezTo>
                      <a:pt x="357" y="569"/>
                      <a:pt x="354" y="568"/>
                      <a:pt x="352" y="569"/>
                    </a:cubicBezTo>
                    <a:cubicBezTo>
                      <a:pt x="352" y="569"/>
                      <a:pt x="352" y="569"/>
                      <a:pt x="352" y="569"/>
                    </a:cubicBezTo>
                    <a:cubicBezTo>
                      <a:pt x="349" y="573"/>
                      <a:pt x="349" y="573"/>
                      <a:pt x="349" y="573"/>
                    </a:cubicBezTo>
                    <a:cubicBezTo>
                      <a:pt x="349" y="575"/>
                      <a:pt x="349" y="576"/>
                      <a:pt x="348" y="576"/>
                    </a:cubicBezTo>
                    <a:cubicBezTo>
                      <a:pt x="349" y="576"/>
                      <a:pt x="351" y="575"/>
                      <a:pt x="352" y="576"/>
                    </a:cubicBezTo>
                    <a:cubicBezTo>
                      <a:pt x="353" y="578"/>
                      <a:pt x="353" y="581"/>
                      <a:pt x="355" y="583"/>
                    </a:cubicBezTo>
                    <a:cubicBezTo>
                      <a:pt x="357" y="585"/>
                      <a:pt x="382" y="586"/>
                      <a:pt x="381" y="584"/>
                    </a:cubicBezTo>
                    <a:cubicBezTo>
                      <a:pt x="381" y="583"/>
                      <a:pt x="373" y="581"/>
                      <a:pt x="379" y="578"/>
                    </a:cubicBezTo>
                    <a:cubicBezTo>
                      <a:pt x="382" y="576"/>
                      <a:pt x="386" y="577"/>
                      <a:pt x="390" y="575"/>
                    </a:cubicBezTo>
                    <a:cubicBezTo>
                      <a:pt x="395" y="572"/>
                      <a:pt x="397" y="564"/>
                      <a:pt x="404" y="562"/>
                    </a:cubicBezTo>
                    <a:cubicBezTo>
                      <a:pt x="416" y="558"/>
                      <a:pt x="422" y="562"/>
                      <a:pt x="425" y="573"/>
                    </a:cubicBezTo>
                    <a:cubicBezTo>
                      <a:pt x="426" y="569"/>
                      <a:pt x="431" y="556"/>
                      <a:pt x="424" y="554"/>
                    </a:cubicBezTo>
                    <a:cubicBezTo>
                      <a:pt x="423" y="554"/>
                      <a:pt x="425" y="556"/>
                      <a:pt x="424" y="556"/>
                    </a:cubicBezTo>
                    <a:cubicBezTo>
                      <a:pt x="423" y="557"/>
                      <a:pt x="423" y="555"/>
                      <a:pt x="422" y="554"/>
                    </a:cubicBezTo>
                    <a:cubicBezTo>
                      <a:pt x="419" y="553"/>
                      <a:pt x="421" y="563"/>
                      <a:pt x="417" y="556"/>
                    </a:cubicBezTo>
                    <a:cubicBezTo>
                      <a:pt x="414" y="551"/>
                      <a:pt x="414" y="543"/>
                      <a:pt x="414" y="537"/>
                    </a:cubicBezTo>
                    <a:cubicBezTo>
                      <a:pt x="414" y="535"/>
                      <a:pt x="410" y="529"/>
                      <a:pt x="412" y="530"/>
                    </a:cubicBezTo>
                    <a:cubicBezTo>
                      <a:pt x="417" y="532"/>
                      <a:pt x="416" y="545"/>
                      <a:pt x="421" y="543"/>
                    </a:cubicBezTo>
                    <a:cubicBezTo>
                      <a:pt x="438" y="537"/>
                      <a:pt x="427" y="535"/>
                      <a:pt x="427" y="528"/>
                    </a:cubicBezTo>
                    <a:cubicBezTo>
                      <a:pt x="427" y="526"/>
                      <a:pt x="428" y="530"/>
                      <a:pt x="429" y="529"/>
                    </a:cubicBezTo>
                    <a:cubicBezTo>
                      <a:pt x="431" y="529"/>
                      <a:pt x="426" y="524"/>
                      <a:pt x="428" y="523"/>
                    </a:cubicBezTo>
                    <a:cubicBezTo>
                      <a:pt x="431" y="522"/>
                      <a:pt x="434" y="524"/>
                      <a:pt x="437" y="523"/>
                    </a:cubicBezTo>
                    <a:cubicBezTo>
                      <a:pt x="439" y="522"/>
                      <a:pt x="441" y="520"/>
                      <a:pt x="442" y="518"/>
                    </a:cubicBezTo>
                    <a:cubicBezTo>
                      <a:pt x="447" y="508"/>
                      <a:pt x="452" y="495"/>
                      <a:pt x="455" y="484"/>
                    </a:cubicBezTo>
                    <a:cubicBezTo>
                      <a:pt x="456" y="482"/>
                      <a:pt x="451" y="479"/>
                      <a:pt x="452" y="477"/>
                    </a:cubicBezTo>
                    <a:cubicBezTo>
                      <a:pt x="453" y="475"/>
                      <a:pt x="456" y="475"/>
                      <a:pt x="457" y="473"/>
                    </a:cubicBezTo>
                    <a:cubicBezTo>
                      <a:pt x="461" y="466"/>
                      <a:pt x="450" y="467"/>
                      <a:pt x="455" y="461"/>
                    </a:cubicBezTo>
                    <a:cubicBezTo>
                      <a:pt x="467" y="445"/>
                      <a:pt x="484" y="452"/>
                      <a:pt x="484" y="447"/>
                    </a:cubicBezTo>
                    <a:cubicBezTo>
                      <a:pt x="485" y="442"/>
                      <a:pt x="478" y="436"/>
                      <a:pt x="482" y="433"/>
                    </a:cubicBezTo>
                    <a:cubicBezTo>
                      <a:pt x="485" y="431"/>
                      <a:pt x="483" y="442"/>
                      <a:pt x="487" y="444"/>
                    </a:cubicBezTo>
                    <a:cubicBezTo>
                      <a:pt x="489" y="446"/>
                      <a:pt x="491" y="442"/>
                      <a:pt x="494" y="441"/>
                    </a:cubicBezTo>
                    <a:cubicBezTo>
                      <a:pt x="497" y="440"/>
                      <a:pt x="500" y="441"/>
                      <a:pt x="504" y="440"/>
                    </a:cubicBezTo>
                    <a:cubicBezTo>
                      <a:pt x="511" y="439"/>
                      <a:pt x="502" y="427"/>
                      <a:pt x="502" y="427"/>
                    </a:cubicBezTo>
                    <a:cubicBezTo>
                      <a:pt x="502" y="420"/>
                      <a:pt x="507" y="421"/>
                      <a:pt x="504" y="416"/>
                    </a:cubicBezTo>
                    <a:cubicBezTo>
                      <a:pt x="506" y="416"/>
                      <a:pt x="507" y="415"/>
                      <a:pt x="507" y="416"/>
                    </a:cubicBezTo>
                    <a:cubicBezTo>
                      <a:pt x="508" y="449"/>
                      <a:pt x="526" y="438"/>
                      <a:pt x="544" y="426"/>
                    </a:cubicBezTo>
                    <a:cubicBezTo>
                      <a:pt x="546" y="425"/>
                      <a:pt x="539" y="430"/>
                      <a:pt x="537" y="432"/>
                    </a:cubicBezTo>
                    <a:cubicBezTo>
                      <a:pt x="534" y="436"/>
                      <a:pt x="538" y="442"/>
                      <a:pt x="533" y="443"/>
                    </a:cubicBezTo>
                    <a:cubicBezTo>
                      <a:pt x="523" y="444"/>
                      <a:pt x="512" y="445"/>
                      <a:pt x="503" y="446"/>
                    </a:cubicBezTo>
                    <a:cubicBezTo>
                      <a:pt x="502" y="446"/>
                      <a:pt x="488" y="446"/>
                      <a:pt x="490" y="448"/>
                    </a:cubicBezTo>
                    <a:cubicBezTo>
                      <a:pt x="493" y="451"/>
                      <a:pt x="497" y="455"/>
                      <a:pt x="501" y="456"/>
                    </a:cubicBezTo>
                    <a:cubicBezTo>
                      <a:pt x="503" y="456"/>
                      <a:pt x="500" y="451"/>
                      <a:pt x="502" y="451"/>
                    </a:cubicBezTo>
                    <a:cubicBezTo>
                      <a:pt x="505" y="449"/>
                      <a:pt x="509" y="451"/>
                      <a:pt x="513" y="451"/>
                    </a:cubicBezTo>
                    <a:cubicBezTo>
                      <a:pt x="514" y="451"/>
                      <a:pt x="519" y="448"/>
                      <a:pt x="519" y="451"/>
                    </a:cubicBezTo>
                    <a:cubicBezTo>
                      <a:pt x="520" y="457"/>
                      <a:pt x="506" y="461"/>
                      <a:pt x="510" y="465"/>
                    </a:cubicBezTo>
                    <a:cubicBezTo>
                      <a:pt x="512" y="467"/>
                      <a:pt x="532" y="462"/>
                      <a:pt x="534" y="463"/>
                    </a:cubicBezTo>
                    <a:cubicBezTo>
                      <a:pt x="536" y="464"/>
                      <a:pt x="534" y="468"/>
                      <a:pt x="536" y="468"/>
                    </a:cubicBezTo>
                    <a:cubicBezTo>
                      <a:pt x="540" y="470"/>
                      <a:pt x="545" y="470"/>
                      <a:pt x="550" y="469"/>
                    </a:cubicBezTo>
                    <a:cubicBezTo>
                      <a:pt x="554" y="468"/>
                      <a:pt x="556" y="462"/>
                      <a:pt x="560" y="460"/>
                    </a:cubicBezTo>
                    <a:cubicBezTo>
                      <a:pt x="564" y="458"/>
                      <a:pt x="569" y="459"/>
                      <a:pt x="573" y="457"/>
                    </a:cubicBezTo>
                    <a:cubicBezTo>
                      <a:pt x="574" y="457"/>
                      <a:pt x="572" y="454"/>
                      <a:pt x="573" y="453"/>
                    </a:cubicBezTo>
                    <a:cubicBezTo>
                      <a:pt x="574" y="452"/>
                      <a:pt x="576" y="455"/>
                      <a:pt x="577" y="455"/>
                    </a:cubicBezTo>
                    <a:cubicBezTo>
                      <a:pt x="580" y="453"/>
                      <a:pt x="579" y="446"/>
                      <a:pt x="581" y="447"/>
                    </a:cubicBezTo>
                    <a:cubicBezTo>
                      <a:pt x="586" y="448"/>
                      <a:pt x="591" y="459"/>
                      <a:pt x="595" y="455"/>
                    </a:cubicBezTo>
                    <a:cubicBezTo>
                      <a:pt x="598" y="452"/>
                      <a:pt x="597" y="447"/>
                      <a:pt x="601" y="445"/>
                    </a:cubicBezTo>
                    <a:cubicBezTo>
                      <a:pt x="610" y="439"/>
                      <a:pt x="600" y="455"/>
                      <a:pt x="606" y="460"/>
                    </a:cubicBezTo>
                    <a:cubicBezTo>
                      <a:pt x="609" y="462"/>
                      <a:pt x="614" y="455"/>
                      <a:pt x="614" y="458"/>
                    </a:cubicBezTo>
                    <a:cubicBezTo>
                      <a:pt x="614" y="460"/>
                      <a:pt x="596" y="478"/>
                      <a:pt x="593" y="479"/>
                    </a:cubicBezTo>
                    <a:cubicBezTo>
                      <a:pt x="591" y="480"/>
                      <a:pt x="589" y="477"/>
                      <a:pt x="588" y="478"/>
                    </a:cubicBezTo>
                    <a:cubicBezTo>
                      <a:pt x="587" y="479"/>
                      <a:pt x="590" y="481"/>
                      <a:pt x="590" y="482"/>
                    </a:cubicBezTo>
                    <a:cubicBezTo>
                      <a:pt x="590" y="482"/>
                      <a:pt x="578" y="492"/>
                      <a:pt x="577" y="492"/>
                    </a:cubicBezTo>
                    <a:cubicBezTo>
                      <a:pt x="576" y="494"/>
                      <a:pt x="575" y="495"/>
                      <a:pt x="575" y="497"/>
                    </a:cubicBezTo>
                    <a:cubicBezTo>
                      <a:pt x="575" y="498"/>
                      <a:pt x="576" y="499"/>
                      <a:pt x="576" y="499"/>
                    </a:cubicBezTo>
                    <a:cubicBezTo>
                      <a:pt x="576" y="500"/>
                      <a:pt x="555" y="514"/>
                      <a:pt x="563" y="517"/>
                    </a:cubicBezTo>
                    <a:cubicBezTo>
                      <a:pt x="577" y="522"/>
                      <a:pt x="574" y="513"/>
                      <a:pt x="586" y="513"/>
                    </a:cubicBezTo>
                    <a:cubicBezTo>
                      <a:pt x="590" y="513"/>
                      <a:pt x="602" y="524"/>
                      <a:pt x="606" y="522"/>
                    </a:cubicBezTo>
                    <a:cubicBezTo>
                      <a:pt x="611" y="520"/>
                      <a:pt x="615" y="514"/>
                      <a:pt x="622" y="521"/>
                    </a:cubicBezTo>
                    <a:cubicBezTo>
                      <a:pt x="637" y="537"/>
                      <a:pt x="624" y="534"/>
                      <a:pt x="627" y="543"/>
                    </a:cubicBezTo>
                    <a:cubicBezTo>
                      <a:pt x="630" y="551"/>
                      <a:pt x="634" y="554"/>
                      <a:pt x="633" y="555"/>
                    </a:cubicBezTo>
                    <a:cubicBezTo>
                      <a:pt x="631" y="557"/>
                      <a:pt x="623" y="557"/>
                      <a:pt x="624" y="560"/>
                    </a:cubicBezTo>
                    <a:cubicBezTo>
                      <a:pt x="626" y="564"/>
                      <a:pt x="633" y="562"/>
                      <a:pt x="637" y="564"/>
                    </a:cubicBezTo>
                    <a:cubicBezTo>
                      <a:pt x="641" y="565"/>
                      <a:pt x="641" y="569"/>
                      <a:pt x="646" y="569"/>
                    </a:cubicBezTo>
                    <a:cubicBezTo>
                      <a:pt x="675" y="565"/>
                      <a:pt x="669" y="533"/>
                      <a:pt x="687" y="520"/>
                    </a:cubicBezTo>
                    <a:cubicBezTo>
                      <a:pt x="691" y="517"/>
                      <a:pt x="694" y="515"/>
                      <a:pt x="699" y="515"/>
                    </a:cubicBezTo>
                    <a:cubicBezTo>
                      <a:pt x="701" y="515"/>
                      <a:pt x="704" y="517"/>
                      <a:pt x="705" y="516"/>
                    </a:cubicBezTo>
                    <a:cubicBezTo>
                      <a:pt x="709" y="512"/>
                      <a:pt x="706" y="504"/>
                      <a:pt x="710" y="501"/>
                    </a:cubicBezTo>
                    <a:cubicBezTo>
                      <a:pt x="714" y="498"/>
                      <a:pt x="716" y="499"/>
                      <a:pt x="717" y="494"/>
                    </a:cubicBezTo>
                    <a:cubicBezTo>
                      <a:pt x="718" y="494"/>
                      <a:pt x="716" y="494"/>
                      <a:pt x="715" y="494"/>
                    </a:cubicBezTo>
                    <a:cubicBezTo>
                      <a:pt x="713" y="491"/>
                      <a:pt x="717" y="485"/>
                      <a:pt x="719" y="485"/>
                    </a:cubicBezTo>
                    <a:cubicBezTo>
                      <a:pt x="722" y="483"/>
                      <a:pt x="726" y="483"/>
                      <a:pt x="729" y="483"/>
                    </a:cubicBezTo>
                    <a:cubicBezTo>
                      <a:pt x="732" y="484"/>
                      <a:pt x="735" y="489"/>
                      <a:pt x="738" y="488"/>
                    </a:cubicBezTo>
                    <a:cubicBezTo>
                      <a:pt x="742" y="487"/>
                      <a:pt x="743" y="482"/>
                      <a:pt x="747" y="481"/>
                    </a:cubicBezTo>
                    <a:cubicBezTo>
                      <a:pt x="749" y="479"/>
                      <a:pt x="753" y="481"/>
                      <a:pt x="756" y="479"/>
                    </a:cubicBezTo>
                    <a:cubicBezTo>
                      <a:pt x="767" y="475"/>
                      <a:pt x="758" y="465"/>
                      <a:pt x="759" y="456"/>
                    </a:cubicBezTo>
                    <a:cubicBezTo>
                      <a:pt x="760" y="451"/>
                      <a:pt x="767" y="447"/>
                      <a:pt x="764" y="443"/>
                    </a:cubicBezTo>
                    <a:cubicBezTo>
                      <a:pt x="764" y="443"/>
                      <a:pt x="741" y="448"/>
                      <a:pt x="740" y="448"/>
                    </a:cubicBezTo>
                    <a:cubicBezTo>
                      <a:pt x="737" y="451"/>
                      <a:pt x="740" y="457"/>
                      <a:pt x="736" y="459"/>
                    </a:cubicBezTo>
                    <a:cubicBezTo>
                      <a:pt x="734" y="460"/>
                      <a:pt x="731" y="459"/>
                      <a:pt x="729" y="458"/>
                    </a:cubicBezTo>
                    <a:cubicBezTo>
                      <a:pt x="727" y="457"/>
                      <a:pt x="728" y="454"/>
                      <a:pt x="726" y="454"/>
                    </a:cubicBezTo>
                    <a:cubicBezTo>
                      <a:pt x="722" y="454"/>
                      <a:pt x="726" y="462"/>
                      <a:pt x="723" y="466"/>
                    </a:cubicBezTo>
                    <a:cubicBezTo>
                      <a:pt x="721" y="469"/>
                      <a:pt x="718" y="472"/>
                      <a:pt x="714" y="473"/>
                    </a:cubicBezTo>
                    <a:cubicBezTo>
                      <a:pt x="704" y="476"/>
                      <a:pt x="672" y="446"/>
                      <a:pt x="667" y="439"/>
                    </a:cubicBezTo>
                    <a:cubicBezTo>
                      <a:pt x="666" y="437"/>
                      <a:pt x="658" y="423"/>
                      <a:pt x="659" y="422"/>
                    </a:cubicBezTo>
                    <a:cubicBezTo>
                      <a:pt x="662" y="419"/>
                      <a:pt x="666" y="428"/>
                      <a:pt x="670" y="427"/>
                    </a:cubicBezTo>
                    <a:cubicBezTo>
                      <a:pt x="683" y="425"/>
                      <a:pt x="679" y="399"/>
                      <a:pt x="684" y="391"/>
                    </a:cubicBezTo>
                    <a:cubicBezTo>
                      <a:pt x="686" y="389"/>
                      <a:pt x="689" y="388"/>
                      <a:pt x="691" y="386"/>
                    </a:cubicBezTo>
                    <a:cubicBezTo>
                      <a:pt x="693" y="382"/>
                      <a:pt x="693" y="377"/>
                      <a:pt x="696" y="374"/>
                    </a:cubicBezTo>
                    <a:cubicBezTo>
                      <a:pt x="705" y="362"/>
                      <a:pt x="709" y="363"/>
                      <a:pt x="717" y="367"/>
                    </a:cubicBezTo>
                    <a:cubicBezTo>
                      <a:pt x="717" y="367"/>
                      <a:pt x="717" y="366"/>
                      <a:pt x="718" y="365"/>
                    </a:cubicBezTo>
                    <a:cubicBezTo>
                      <a:pt x="723" y="360"/>
                      <a:pt x="717" y="349"/>
                      <a:pt x="730" y="348"/>
                    </a:cubicBezTo>
                    <a:cubicBezTo>
                      <a:pt x="735" y="348"/>
                      <a:pt x="738" y="357"/>
                      <a:pt x="741" y="354"/>
                    </a:cubicBezTo>
                    <a:cubicBezTo>
                      <a:pt x="745" y="352"/>
                      <a:pt x="740" y="345"/>
                      <a:pt x="742" y="341"/>
                    </a:cubicBezTo>
                    <a:cubicBezTo>
                      <a:pt x="742" y="340"/>
                      <a:pt x="755" y="325"/>
                      <a:pt x="755" y="325"/>
                    </a:cubicBezTo>
                    <a:cubicBezTo>
                      <a:pt x="757" y="324"/>
                      <a:pt x="760" y="330"/>
                      <a:pt x="761" y="328"/>
                    </a:cubicBezTo>
                    <a:cubicBezTo>
                      <a:pt x="762" y="326"/>
                      <a:pt x="763" y="311"/>
                      <a:pt x="766" y="308"/>
                    </a:cubicBezTo>
                    <a:cubicBezTo>
                      <a:pt x="771" y="305"/>
                      <a:pt x="785" y="299"/>
                      <a:pt x="791" y="298"/>
                    </a:cubicBezTo>
                    <a:cubicBezTo>
                      <a:pt x="792" y="298"/>
                      <a:pt x="793" y="303"/>
                      <a:pt x="794" y="302"/>
                    </a:cubicBezTo>
                    <a:cubicBezTo>
                      <a:pt x="796" y="300"/>
                      <a:pt x="795" y="296"/>
                      <a:pt x="797" y="29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29" name="Freeform 13"/>
              <p:cNvSpPr>
                <a:spLocks noEditPoints="1"/>
              </p:cNvSpPr>
              <p:nvPr/>
            </p:nvSpPr>
            <p:spPr bwMode="auto">
              <a:xfrm>
                <a:off x="8245735" y="4773960"/>
                <a:ext cx="496125" cy="503352"/>
              </a:xfrm>
              <a:custGeom>
                <a:avLst/>
                <a:gdLst>
                  <a:gd name="T0" fmla="*/ 7 w 297"/>
                  <a:gd name="T1" fmla="*/ 150 h 280"/>
                  <a:gd name="T2" fmla="*/ 9 w 297"/>
                  <a:gd name="T3" fmla="*/ 139 h 280"/>
                  <a:gd name="T4" fmla="*/ 31 w 297"/>
                  <a:gd name="T5" fmla="*/ 148 h 280"/>
                  <a:gd name="T6" fmla="*/ 82 w 297"/>
                  <a:gd name="T7" fmla="*/ 182 h 280"/>
                  <a:gd name="T8" fmla="*/ 70 w 297"/>
                  <a:gd name="T9" fmla="*/ 209 h 280"/>
                  <a:gd name="T10" fmla="*/ 132 w 297"/>
                  <a:gd name="T11" fmla="*/ 212 h 280"/>
                  <a:gd name="T12" fmla="*/ 137 w 297"/>
                  <a:gd name="T13" fmla="*/ 237 h 280"/>
                  <a:gd name="T14" fmla="*/ 152 w 297"/>
                  <a:gd name="T15" fmla="*/ 257 h 280"/>
                  <a:gd name="T16" fmla="*/ 168 w 297"/>
                  <a:gd name="T17" fmla="*/ 223 h 280"/>
                  <a:gd name="T18" fmla="*/ 197 w 297"/>
                  <a:gd name="T19" fmla="*/ 160 h 280"/>
                  <a:gd name="T20" fmla="*/ 227 w 297"/>
                  <a:gd name="T21" fmla="*/ 171 h 280"/>
                  <a:gd name="T22" fmla="*/ 228 w 297"/>
                  <a:gd name="T23" fmla="*/ 216 h 280"/>
                  <a:gd name="T24" fmla="*/ 256 w 297"/>
                  <a:gd name="T25" fmla="*/ 219 h 280"/>
                  <a:gd name="T26" fmla="*/ 268 w 297"/>
                  <a:gd name="T27" fmla="*/ 191 h 280"/>
                  <a:gd name="T28" fmla="*/ 275 w 297"/>
                  <a:gd name="T29" fmla="*/ 166 h 280"/>
                  <a:gd name="T30" fmla="*/ 279 w 297"/>
                  <a:gd name="T31" fmla="*/ 166 h 280"/>
                  <a:gd name="T32" fmla="*/ 281 w 297"/>
                  <a:gd name="T33" fmla="*/ 147 h 280"/>
                  <a:gd name="T34" fmla="*/ 268 w 297"/>
                  <a:gd name="T35" fmla="*/ 119 h 280"/>
                  <a:gd name="T36" fmla="*/ 267 w 297"/>
                  <a:gd name="T37" fmla="*/ 61 h 280"/>
                  <a:gd name="T38" fmla="*/ 279 w 297"/>
                  <a:gd name="T39" fmla="*/ 55 h 280"/>
                  <a:gd name="T40" fmla="*/ 268 w 297"/>
                  <a:gd name="T41" fmla="*/ 41 h 280"/>
                  <a:gd name="T42" fmla="*/ 227 w 297"/>
                  <a:gd name="T43" fmla="*/ 43 h 280"/>
                  <a:gd name="T44" fmla="*/ 152 w 297"/>
                  <a:gd name="T45" fmla="*/ 0 h 280"/>
                  <a:gd name="T46" fmla="*/ 142 w 297"/>
                  <a:gd name="T47" fmla="*/ 41 h 280"/>
                  <a:gd name="T48" fmla="*/ 93 w 297"/>
                  <a:gd name="T49" fmla="*/ 60 h 280"/>
                  <a:gd name="T50" fmla="*/ 61 w 297"/>
                  <a:gd name="T51" fmla="*/ 52 h 280"/>
                  <a:gd name="T52" fmla="*/ 50 w 297"/>
                  <a:gd name="T53" fmla="*/ 56 h 280"/>
                  <a:gd name="T54" fmla="*/ 43 w 297"/>
                  <a:gd name="T55" fmla="*/ 74 h 280"/>
                  <a:gd name="T56" fmla="*/ 54 w 297"/>
                  <a:gd name="T57" fmla="*/ 85 h 280"/>
                  <a:gd name="T58" fmla="*/ 47 w 297"/>
                  <a:gd name="T59" fmla="*/ 120 h 280"/>
                  <a:gd name="T60" fmla="*/ 35 w 297"/>
                  <a:gd name="T61" fmla="*/ 113 h 280"/>
                  <a:gd name="T62" fmla="*/ 134 w 297"/>
                  <a:gd name="T63" fmla="*/ 268 h 280"/>
                  <a:gd name="T64" fmla="*/ 112 w 297"/>
                  <a:gd name="T65" fmla="*/ 246 h 280"/>
                  <a:gd name="T66" fmla="*/ 78 w 297"/>
                  <a:gd name="T67" fmla="*/ 246 h 280"/>
                  <a:gd name="T68" fmla="*/ 48 w 297"/>
                  <a:gd name="T69" fmla="*/ 238 h 280"/>
                  <a:gd name="T70" fmla="*/ 55 w 297"/>
                  <a:gd name="T71" fmla="*/ 264 h 280"/>
                  <a:gd name="T72" fmla="*/ 82 w 297"/>
                  <a:gd name="T73" fmla="*/ 272 h 280"/>
                  <a:gd name="T74" fmla="*/ 134 w 297"/>
                  <a:gd name="T75" fmla="*/ 268 h 280"/>
                  <a:gd name="T76" fmla="*/ 151 w 297"/>
                  <a:gd name="T77" fmla="*/ 0 h 280"/>
                  <a:gd name="T78" fmla="*/ 151 w 297"/>
                  <a:gd name="T79" fmla="*/ 0 h 280"/>
                  <a:gd name="T80" fmla="*/ 46 w 297"/>
                  <a:gd name="T81" fmla="*/ 164 h 280"/>
                  <a:gd name="T82" fmla="*/ 150 w 297"/>
                  <a:gd name="T83" fmla="*/ 0 h 280"/>
                  <a:gd name="T84" fmla="*/ 150 w 297"/>
                  <a:gd name="T85" fmla="*/ 0 h 280"/>
                  <a:gd name="T86" fmla="*/ 150 w 297"/>
                  <a:gd name="T87" fmla="*/ 0 h 280"/>
                  <a:gd name="T88" fmla="*/ 151 w 297"/>
                  <a:gd name="T89" fmla="*/ 0 h 280"/>
                  <a:gd name="T90" fmla="*/ 152 w 297"/>
                  <a:gd name="T91" fmla="*/ 0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7" h="280">
                    <a:moveTo>
                      <a:pt x="7" y="150"/>
                    </a:moveTo>
                    <a:cubicBezTo>
                      <a:pt x="8" y="151"/>
                      <a:pt x="9" y="151"/>
                      <a:pt x="10" y="151"/>
                    </a:cubicBezTo>
                    <a:cubicBezTo>
                      <a:pt x="11" y="154"/>
                      <a:pt x="0" y="154"/>
                      <a:pt x="7" y="150"/>
                    </a:cubicBezTo>
                    <a:moveTo>
                      <a:pt x="0" y="137"/>
                    </a:moveTo>
                    <a:cubicBezTo>
                      <a:pt x="1" y="138"/>
                      <a:pt x="2" y="141"/>
                      <a:pt x="4" y="142"/>
                    </a:cubicBezTo>
                    <a:cubicBezTo>
                      <a:pt x="6" y="142"/>
                      <a:pt x="7" y="139"/>
                      <a:pt x="9" y="139"/>
                    </a:cubicBezTo>
                    <a:cubicBezTo>
                      <a:pt x="23" y="139"/>
                      <a:pt x="7" y="146"/>
                      <a:pt x="9" y="149"/>
                    </a:cubicBezTo>
                    <a:cubicBezTo>
                      <a:pt x="12" y="151"/>
                      <a:pt x="26" y="144"/>
                      <a:pt x="30" y="143"/>
                    </a:cubicBezTo>
                    <a:cubicBezTo>
                      <a:pt x="31" y="143"/>
                      <a:pt x="30" y="148"/>
                      <a:pt x="31" y="148"/>
                    </a:cubicBezTo>
                    <a:cubicBezTo>
                      <a:pt x="35" y="150"/>
                      <a:pt x="39" y="148"/>
                      <a:pt x="43" y="150"/>
                    </a:cubicBezTo>
                    <a:cubicBezTo>
                      <a:pt x="51" y="154"/>
                      <a:pt x="33" y="163"/>
                      <a:pt x="38" y="170"/>
                    </a:cubicBezTo>
                    <a:cubicBezTo>
                      <a:pt x="47" y="182"/>
                      <a:pt x="81" y="180"/>
                      <a:pt x="82" y="182"/>
                    </a:cubicBezTo>
                    <a:cubicBezTo>
                      <a:pt x="83" y="184"/>
                      <a:pt x="85" y="198"/>
                      <a:pt x="83" y="199"/>
                    </a:cubicBezTo>
                    <a:cubicBezTo>
                      <a:pt x="80" y="202"/>
                      <a:pt x="74" y="203"/>
                      <a:pt x="70" y="206"/>
                    </a:cubicBezTo>
                    <a:cubicBezTo>
                      <a:pt x="70" y="207"/>
                      <a:pt x="69" y="209"/>
                      <a:pt x="70" y="209"/>
                    </a:cubicBezTo>
                    <a:cubicBezTo>
                      <a:pt x="74" y="210"/>
                      <a:pt x="77" y="207"/>
                      <a:pt x="81" y="207"/>
                    </a:cubicBezTo>
                    <a:cubicBezTo>
                      <a:pt x="91" y="208"/>
                      <a:pt x="103" y="219"/>
                      <a:pt x="113" y="218"/>
                    </a:cubicBezTo>
                    <a:cubicBezTo>
                      <a:pt x="116" y="218"/>
                      <a:pt x="129" y="207"/>
                      <a:pt x="132" y="212"/>
                    </a:cubicBezTo>
                    <a:cubicBezTo>
                      <a:pt x="135" y="220"/>
                      <a:pt x="126" y="218"/>
                      <a:pt x="127" y="224"/>
                    </a:cubicBezTo>
                    <a:cubicBezTo>
                      <a:pt x="127" y="233"/>
                      <a:pt x="145" y="221"/>
                      <a:pt x="146" y="233"/>
                    </a:cubicBezTo>
                    <a:cubicBezTo>
                      <a:pt x="146" y="236"/>
                      <a:pt x="139" y="236"/>
                      <a:pt x="137" y="237"/>
                    </a:cubicBezTo>
                    <a:cubicBezTo>
                      <a:pt x="137" y="238"/>
                      <a:pt x="136" y="238"/>
                      <a:pt x="136" y="240"/>
                    </a:cubicBezTo>
                    <a:cubicBezTo>
                      <a:pt x="136" y="244"/>
                      <a:pt x="141" y="241"/>
                      <a:pt x="143" y="242"/>
                    </a:cubicBezTo>
                    <a:cubicBezTo>
                      <a:pt x="148" y="245"/>
                      <a:pt x="147" y="253"/>
                      <a:pt x="152" y="257"/>
                    </a:cubicBezTo>
                    <a:cubicBezTo>
                      <a:pt x="152" y="258"/>
                      <a:pt x="152" y="258"/>
                      <a:pt x="152" y="258"/>
                    </a:cubicBezTo>
                    <a:cubicBezTo>
                      <a:pt x="154" y="255"/>
                      <a:pt x="159" y="231"/>
                      <a:pt x="159" y="231"/>
                    </a:cubicBezTo>
                    <a:cubicBezTo>
                      <a:pt x="160" y="227"/>
                      <a:pt x="166" y="227"/>
                      <a:pt x="168" y="223"/>
                    </a:cubicBezTo>
                    <a:cubicBezTo>
                      <a:pt x="169" y="220"/>
                      <a:pt x="167" y="216"/>
                      <a:pt x="167" y="213"/>
                    </a:cubicBezTo>
                    <a:cubicBezTo>
                      <a:pt x="168" y="207"/>
                      <a:pt x="173" y="203"/>
                      <a:pt x="175" y="197"/>
                    </a:cubicBezTo>
                    <a:cubicBezTo>
                      <a:pt x="177" y="192"/>
                      <a:pt x="193" y="160"/>
                      <a:pt x="197" y="160"/>
                    </a:cubicBezTo>
                    <a:cubicBezTo>
                      <a:pt x="202" y="159"/>
                      <a:pt x="206" y="163"/>
                      <a:pt x="211" y="164"/>
                    </a:cubicBezTo>
                    <a:cubicBezTo>
                      <a:pt x="215" y="165"/>
                      <a:pt x="220" y="167"/>
                      <a:pt x="224" y="168"/>
                    </a:cubicBezTo>
                    <a:cubicBezTo>
                      <a:pt x="225" y="169"/>
                      <a:pt x="228" y="169"/>
                      <a:pt x="227" y="171"/>
                    </a:cubicBezTo>
                    <a:cubicBezTo>
                      <a:pt x="225" y="176"/>
                      <a:pt x="216" y="179"/>
                      <a:pt x="219" y="186"/>
                    </a:cubicBezTo>
                    <a:cubicBezTo>
                      <a:pt x="222" y="194"/>
                      <a:pt x="233" y="186"/>
                      <a:pt x="237" y="195"/>
                    </a:cubicBezTo>
                    <a:cubicBezTo>
                      <a:pt x="240" y="204"/>
                      <a:pt x="219" y="210"/>
                      <a:pt x="228" y="216"/>
                    </a:cubicBezTo>
                    <a:cubicBezTo>
                      <a:pt x="236" y="223"/>
                      <a:pt x="234" y="215"/>
                      <a:pt x="243" y="218"/>
                    </a:cubicBezTo>
                    <a:cubicBezTo>
                      <a:pt x="249" y="219"/>
                      <a:pt x="240" y="228"/>
                      <a:pt x="252" y="224"/>
                    </a:cubicBezTo>
                    <a:cubicBezTo>
                      <a:pt x="254" y="223"/>
                      <a:pt x="254" y="219"/>
                      <a:pt x="256" y="219"/>
                    </a:cubicBezTo>
                    <a:cubicBezTo>
                      <a:pt x="261" y="219"/>
                      <a:pt x="271" y="233"/>
                      <a:pt x="276" y="228"/>
                    </a:cubicBezTo>
                    <a:cubicBezTo>
                      <a:pt x="279" y="225"/>
                      <a:pt x="281" y="222"/>
                      <a:pt x="283" y="219"/>
                    </a:cubicBezTo>
                    <a:cubicBezTo>
                      <a:pt x="276" y="207"/>
                      <a:pt x="270" y="195"/>
                      <a:pt x="268" y="191"/>
                    </a:cubicBezTo>
                    <a:cubicBezTo>
                      <a:pt x="267" y="189"/>
                      <a:pt x="270" y="186"/>
                      <a:pt x="270" y="183"/>
                    </a:cubicBezTo>
                    <a:cubicBezTo>
                      <a:pt x="270" y="177"/>
                      <a:pt x="261" y="172"/>
                      <a:pt x="264" y="167"/>
                    </a:cubicBezTo>
                    <a:cubicBezTo>
                      <a:pt x="266" y="164"/>
                      <a:pt x="272" y="164"/>
                      <a:pt x="275" y="166"/>
                    </a:cubicBezTo>
                    <a:cubicBezTo>
                      <a:pt x="279" y="169"/>
                      <a:pt x="275" y="174"/>
                      <a:pt x="276" y="177"/>
                    </a:cubicBezTo>
                    <a:cubicBezTo>
                      <a:pt x="277" y="180"/>
                      <a:pt x="281" y="173"/>
                      <a:pt x="281" y="170"/>
                    </a:cubicBezTo>
                    <a:cubicBezTo>
                      <a:pt x="281" y="169"/>
                      <a:pt x="279" y="168"/>
                      <a:pt x="279" y="166"/>
                    </a:cubicBezTo>
                    <a:cubicBezTo>
                      <a:pt x="278" y="164"/>
                      <a:pt x="279" y="162"/>
                      <a:pt x="278" y="160"/>
                    </a:cubicBezTo>
                    <a:cubicBezTo>
                      <a:pt x="276" y="156"/>
                      <a:pt x="272" y="152"/>
                      <a:pt x="273" y="147"/>
                    </a:cubicBezTo>
                    <a:cubicBezTo>
                      <a:pt x="274" y="145"/>
                      <a:pt x="279" y="148"/>
                      <a:pt x="281" y="147"/>
                    </a:cubicBezTo>
                    <a:cubicBezTo>
                      <a:pt x="283" y="146"/>
                      <a:pt x="279" y="145"/>
                      <a:pt x="278" y="143"/>
                    </a:cubicBezTo>
                    <a:cubicBezTo>
                      <a:pt x="275" y="141"/>
                      <a:pt x="271" y="139"/>
                      <a:pt x="268" y="136"/>
                    </a:cubicBezTo>
                    <a:cubicBezTo>
                      <a:pt x="261" y="126"/>
                      <a:pt x="269" y="129"/>
                      <a:pt x="268" y="119"/>
                    </a:cubicBezTo>
                    <a:cubicBezTo>
                      <a:pt x="267" y="108"/>
                      <a:pt x="252" y="91"/>
                      <a:pt x="257" y="80"/>
                    </a:cubicBezTo>
                    <a:cubicBezTo>
                      <a:pt x="265" y="66"/>
                      <a:pt x="259" y="90"/>
                      <a:pt x="267" y="68"/>
                    </a:cubicBezTo>
                    <a:cubicBezTo>
                      <a:pt x="267" y="66"/>
                      <a:pt x="266" y="62"/>
                      <a:pt x="267" y="61"/>
                    </a:cubicBezTo>
                    <a:cubicBezTo>
                      <a:pt x="268" y="59"/>
                      <a:pt x="270" y="59"/>
                      <a:pt x="271" y="59"/>
                    </a:cubicBezTo>
                    <a:cubicBezTo>
                      <a:pt x="272" y="59"/>
                      <a:pt x="273" y="61"/>
                      <a:pt x="274" y="61"/>
                    </a:cubicBezTo>
                    <a:cubicBezTo>
                      <a:pt x="276" y="59"/>
                      <a:pt x="276" y="56"/>
                      <a:pt x="279" y="55"/>
                    </a:cubicBezTo>
                    <a:cubicBezTo>
                      <a:pt x="281" y="53"/>
                      <a:pt x="284" y="51"/>
                      <a:pt x="287" y="51"/>
                    </a:cubicBezTo>
                    <a:cubicBezTo>
                      <a:pt x="290" y="51"/>
                      <a:pt x="296" y="57"/>
                      <a:pt x="296" y="53"/>
                    </a:cubicBezTo>
                    <a:cubicBezTo>
                      <a:pt x="297" y="44"/>
                      <a:pt x="274" y="39"/>
                      <a:pt x="268" y="41"/>
                    </a:cubicBezTo>
                    <a:cubicBezTo>
                      <a:pt x="254" y="46"/>
                      <a:pt x="257" y="54"/>
                      <a:pt x="240" y="51"/>
                    </a:cubicBezTo>
                    <a:cubicBezTo>
                      <a:pt x="237" y="51"/>
                      <a:pt x="236" y="44"/>
                      <a:pt x="236" y="44"/>
                    </a:cubicBezTo>
                    <a:cubicBezTo>
                      <a:pt x="235" y="42"/>
                      <a:pt x="227" y="43"/>
                      <a:pt x="227" y="43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02" y="31"/>
                      <a:pt x="200" y="22"/>
                      <a:pt x="189" y="17"/>
                    </a:cubicBezTo>
                    <a:cubicBezTo>
                      <a:pt x="180" y="12"/>
                      <a:pt x="162" y="1"/>
                      <a:pt x="152" y="0"/>
                    </a:cubicBezTo>
                    <a:cubicBezTo>
                      <a:pt x="152" y="0"/>
                      <a:pt x="153" y="0"/>
                      <a:pt x="154" y="0"/>
                    </a:cubicBezTo>
                    <a:cubicBezTo>
                      <a:pt x="154" y="2"/>
                      <a:pt x="154" y="2"/>
                      <a:pt x="154" y="2"/>
                    </a:cubicBezTo>
                    <a:cubicBezTo>
                      <a:pt x="145" y="34"/>
                      <a:pt x="151" y="17"/>
                      <a:pt x="142" y="41"/>
                    </a:cubicBezTo>
                    <a:cubicBezTo>
                      <a:pt x="140" y="46"/>
                      <a:pt x="144" y="61"/>
                      <a:pt x="142" y="62"/>
                    </a:cubicBezTo>
                    <a:cubicBezTo>
                      <a:pt x="137" y="69"/>
                      <a:pt x="116" y="79"/>
                      <a:pt x="108" y="73"/>
                    </a:cubicBezTo>
                    <a:cubicBezTo>
                      <a:pt x="95" y="63"/>
                      <a:pt x="126" y="68"/>
                      <a:pt x="93" y="60"/>
                    </a:cubicBezTo>
                    <a:cubicBezTo>
                      <a:pt x="91" y="59"/>
                      <a:pt x="91" y="63"/>
                      <a:pt x="90" y="63"/>
                    </a:cubicBezTo>
                    <a:cubicBezTo>
                      <a:pt x="89" y="63"/>
                      <a:pt x="76" y="59"/>
                      <a:pt x="72" y="57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61" y="52"/>
                      <a:pt x="61" y="52"/>
                      <a:pt x="61" y="52"/>
                    </a:cubicBezTo>
                    <a:cubicBezTo>
                      <a:pt x="59" y="53"/>
                      <a:pt x="57" y="55"/>
                      <a:pt x="56" y="55"/>
                    </a:cubicBezTo>
                    <a:cubicBezTo>
                      <a:pt x="55" y="55"/>
                      <a:pt x="52" y="56"/>
                      <a:pt x="50" y="56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49" y="62"/>
                      <a:pt x="50" y="66"/>
                      <a:pt x="48" y="71"/>
                    </a:cubicBezTo>
                    <a:cubicBezTo>
                      <a:pt x="48" y="73"/>
                      <a:pt x="44" y="72"/>
                      <a:pt x="43" y="74"/>
                    </a:cubicBezTo>
                    <a:cubicBezTo>
                      <a:pt x="42" y="76"/>
                      <a:pt x="48" y="84"/>
                      <a:pt x="51" y="84"/>
                    </a:cubicBezTo>
                    <a:cubicBezTo>
                      <a:pt x="52" y="84"/>
                      <a:pt x="56" y="81"/>
                      <a:pt x="56" y="82"/>
                    </a:cubicBezTo>
                    <a:cubicBezTo>
                      <a:pt x="56" y="83"/>
                      <a:pt x="54" y="84"/>
                      <a:pt x="54" y="85"/>
                    </a:cubicBezTo>
                    <a:cubicBezTo>
                      <a:pt x="53" y="87"/>
                      <a:pt x="89" y="83"/>
                      <a:pt x="85" y="102"/>
                    </a:cubicBezTo>
                    <a:cubicBezTo>
                      <a:pt x="80" y="124"/>
                      <a:pt x="75" y="105"/>
                      <a:pt x="62" y="110"/>
                    </a:cubicBezTo>
                    <a:cubicBezTo>
                      <a:pt x="51" y="114"/>
                      <a:pt x="58" y="120"/>
                      <a:pt x="47" y="120"/>
                    </a:cubicBezTo>
                    <a:cubicBezTo>
                      <a:pt x="43" y="120"/>
                      <a:pt x="39" y="119"/>
                      <a:pt x="34" y="119"/>
                    </a:cubicBezTo>
                    <a:cubicBezTo>
                      <a:pt x="34" y="119"/>
                      <a:pt x="33" y="119"/>
                      <a:pt x="33" y="118"/>
                    </a:cubicBezTo>
                    <a:cubicBezTo>
                      <a:pt x="33" y="116"/>
                      <a:pt x="37" y="113"/>
                      <a:pt x="35" y="113"/>
                    </a:cubicBezTo>
                    <a:cubicBezTo>
                      <a:pt x="26" y="110"/>
                      <a:pt x="18" y="114"/>
                      <a:pt x="10" y="116"/>
                    </a:cubicBezTo>
                    <a:cubicBezTo>
                      <a:pt x="3" y="119"/>
                      <a:pt x="3" y="130"/>
                      <a:pt x="0" y="137"/>
                    </a:cubicBezTo>
                    <a:close/>
                    <a:moveTo>
                      <a:pt x="134" y="268"/>
                    </a:moveTo>
                    <a:cubicBezTo>
                      <a:pt x="129" y="265"/>
                      <a:pt x="114" y="253"/>
                      <a:pt x="114" y="253"/>
                    </a:cubicBezTo>
                    <a:cubicBezTo>
                      <a:pt x="113" y="251"/>
                      <a:pt x="115" y="249"/>
                      <a:pt x="114" y="247"/>
                    </a:cubicBezTo>
                    <a:cubicBezTo>
                      <a:pt x="114" y="246"/>
                      <a:pt x="112" y="246"/>
                      <a:pt x="112" y="246"/>
                    </a:cubicBezTo>
                    <a:cubicBezTo>
                      <a:pt x="107" y="245"/>
                      <a:pt x="103" y="246"/>
                      <a:pt x="99" y="246"/>
                    </a:cubicBezTo>
                    <a:cubicBezTo>
                      <a:pt x="98" y="246"/>
                      <a:pt x="100" y="227"/>
                      <a:pt x="89" y="233"/>
                    </a:cubicBezTo>
                    <a:cubicBezTo>
                      <a:pt x="78" y="246"/>
                      <a:pt x="78" y="246"/>
                      <a:pt x="78" y="246"/>
                    </a:cubicBezTo>
                    <a:cubicBezTo>
                      <a:pt x="73" y="247"/>
                      <a:pt x="69" y="242"/>
                      <a:pt x="65" y="243"/>
                    </a:cubicBezTo>
                    <a:cubicBezTo>
                      <a:pt x="63" y="244"/>
                      <a:pt x="64" y="247"/>
                      <a:pt x="63" y="248"/>
                    </a:cubicBezTo>
                    <a:cubicBezTo>
                      <a:pt x="57" y="255"/>
                      <a:pt x="63" y="234"/>
                      <a:pt x="48" y="238"/>
                    </a:cubicBezTo>
                    <a:cubicBezTo>
                      <a:pt x="43" y="239"/>
                      <a:pt x="41" y="246"/>
                      <a:pt x="38" y="250"/>
                    </a:cubicBezTo>
                    <a:cubicBezTo>
                      <a:pt x="42" y="252"/>
                      <a:pt x="45" y="254"/>
                      <a:pt x="46" y="254"/>
                    </a:cubicBezTo>
                    <a:cubicBezTo>
                      <a:pt x="50" y="257"/>
                      <a:pt x="51" y="262"/>
                      <a:pt x="55" y="264"/>
                    </a:cubicBezTo>
                    <a:cubicBezTo>
                      <a:pt x="58" y="266"/>
                      <a:pt x="63" y="266"/>
                      <a:pt x="66" y="267"/>
                    </a:cubicBezTo>
                    <a:cubicBezTo>
                      <a:pt x="69" y="268"/>
                      <a:pt x="70" y="272"/>
                      <a:pt x="73" y="272"/>
                    </a:cubicBezTo>
                    <a:cubicBezTo>
                      <a:pt x="76" y="273"/>
                      <a:pt x="80" y="271"/>
                      <a:pt x="82" y="272"/>
                    </a:cubicBezTo>
                    <a:cubicBezTo>
                      <a:pt x="86" y="274"/>
                      <a:pt x="88" y="279"/>
                      <a:pt x="93" y="280"/>
                    </a:cubicBezTo>
                    <a:cubicBezTo>
                      <a:pt x="118" y="276"/>
                      <a:pt x="118" y="276"/>
                      <a:pt x="118" y="276"/>
                    </a:cubicBezTo>
                    <a:cubicBezTo>
                      <a:pt x="132" y="273"/>
                      <a:pt x="133" y="271"/>
                      <a:pt x="134" y="268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46" y="164"/>
                    </a:moveTo>
                    <a:cubicBezTo>
                      <a:pt x="53" y="165"/>
                      <a:pt x="43" y="172"/>
                      <a:pt x="44" y="167"/>
                    </a:cubicBezTo>
                    <a:cubicBezTo>
                      <a:pt x="44" y="166"/>
                      <a:pt x="45" y="165"/>
                      <a:pt x="46" y="164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0" y="0"/>
                      <a:pt x="150" y="0"/>
                      <a:pt x="150" y="0"/>
                    </a:cubicBezTo>
                    <a:close/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moveTo>
                      <a:pt x="150" y="0"/>
                    </a:moveTo>
                    <a:cubicBezTo>
                      <a:pt x="150" y="0"/>
                      <a:pt x="150" y="0"/>
                      <a:pt x="150" y="0"/>
                    </a:cubicBezTo>
                    <a:cubicBezTo>
                      <a:pt x="151" y="0"/>
                      <a:pt x="151" y="0"/>
                      <a:pt x="151" y="0"/>
                    </a:cubicBezTo>
                    <a:lnTo>
                      <a:pt x="150" y="0"/>
                    </a:ln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cubicBezTo>
                      <a:pt x="151" y="0"/>
                      <a:pt x="151" y="0"/>
                      <a:pt x="151" y="0"/>
                    </a:cubicBezTo>
                    <a:close/>
                    <a:moveTo>
                      <a:pt x="151" y="0"/>
                    </a:moveTo>
                    <a:cubicBezTo>
                      <a:pt x="151" y="0"/>
                      <a:pt x="151" y="0"/>
                      <a:pt x="151" y="0"/>
                    </a:cubicBezTo>
                    <a:moveTo>
                      <a:pt x="152" y="0"/>
                    </a:moveTo>
                    <a:cubicBezTo>
                      <a:pt x="152" y="0"/>
                      <a:pt x="152" y="0"/>
                      <a:pt x="152" y="0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0" name="Freeform 12"/>
              <p:cNvSpPr>
                <a:spLocks/>
              </p:cNvSpPr>
              <p:nvPr/>
            </p:nvSpPr>
            <p:spPr bwMode="auto">
              <a:xfrm>
                <a:off x="7715547" y="4839270"/>
                <a:ext cx="678285" cy="310613"/>
              </a:xfrm>
              <a:custGeom>
                <a:avLst/>
                <a:gdLst>
                  <a:gd name="T0" fmla="*/ 365 w 406"/>
                  <a:gd name="T1" fmla="*/ 35 h 173"/>
                  <a:gd name="T2" fmla="*/ 368 w 406"/>
                  <a:gd name="T3" fmla="*/ 48 h 173"/>
                  <a:gd name="T4" fmla="*/ 371 w 406"/>
                  <a:gd name="T5" fmla="*/ 49 h 173"/>
                  <a:gd name="T6" fmla="*/ 379 w 406"/>
                  <a:gd name="T7" fmla="*/ 74 h 173"/>
                  <a:gd name="T8" fmla="*/ 351 w 406"/>
                  <a:gd name="T9" fmla="*/ 83 h 173"/>
                  <a:gd name="T10" fmla="*/ 352 w 406"/>
                  <a:gd name="T11" fmla="*/ 77 h 173"/>
                  <a:gd name="T12" fmla="*/ 314 w 406"/>
                  <a:gd name="T13" fmla="*/ 104 h 173"/>
                  <a:gd name="T14" fmla="*/ 312 w 406"/>
                  <a:gd name="T15" fmla="*/ 110 h 173"/>
                  <a:gd name="T16" fmla="*/ 246 w 406"/>
                  <a:gd name="T17" fmla="*/ 152 h 173"/>
                  <a:gd name="T18" fmla="*/ 244 w 406"/>
                  <a:gd name="T19" fmla="*/ 150 h 173"/>
                  <a:gd name="T20" fmla="*/ 231 w 406"/>
                  <a:gd name="T21" fmla="*/ 154 h 173"/>
                  <a:gd name="T22" fmla="*/ 224 w 406"/>
                  <a:gd name="T23" fmla="*/ 152 h 173"/>
                  <a:gd name="T24" fmla="*/ 214 w 406"/>
                  <a:gd name="T25" fmla="*/ 144 h 173"/>
                  <a:gd name="T26" fmla="*/ 204 w 406"/>
                  <a:gd name="T27" fmla="*/ 144 h 173"/>
                  <a:gd name="T28" fmla="*/ 195 w 406"/>
                  <a:gd name="T29" fmla="*/ 139 h 173"/>
                  <a:gd name="T30" fmla="*/ 187 w 406"/>
                  <a:gd name="T31" fmla="*/ 154 h 173"/>
                  <a:gd name="T32" fmla="*/ 157 w 406"/>
                  <a:gd name="T33" fmla="*/ 163 h 173"/>
                  <a:gd name="T34" fmla="*/ 145 w 406"/>
                  <a:gd name="T35" fmla="*/ 172 h 173"/>
                  <a:gd name="T36" fmla="*/ 135 w 406"/>
                  <a:gd name="T37" fmla="*/ 172 h 173"/>
                  <a:gd name="T38" fmla="*/ 140 w 406"/>
                  <a:gd name="T39" fmla="*/ 145 h 173"/>
                  <a:gd name="T40" fmla="*/ 99 w 406"/>
                  <a:gd name="T41" fmla="*/ 93 h 173"/>
                  <a:gd name="T42" fmla="*/ 81 w 406"/>
                  <a:gd name="T43" fmla="*/ 94 h 173"/>
                  <a:gd name="T44" fmla="*/ 45 w 406"/>
                  <a:gd name="T45" fmla="*/ 86 h 173"/>
                  <a:gd name="T46" fmla="*/ 32 w 406"/>
                  <a:gd name="T47" fmla="*/ 86 h 173"/>
                  <a:gd name="T48" fmla="*/ 20 w 406"/>
                  <a:gd name="T49" fmla="*/ 79 h 173"/>
                  <a:gd name="T50" fmla="*/ 3 w 406"/>
                  <a:gd name="T51" fmla="*/ 80 h 173"/>
                  <a:gd name="T52" fmla="*/ 7 w 406"/>
                  <a:gd name="T53" fmla="*/ 78 h 173"/>
                  <a:gd name="T54" fmla="*/ 37 w 406"/>
                  <a:gd name="T55" fmla="*/ 52 h 173"/>
                  <a:gd name="T56" fmla="*/ 77 w 406"/>
                  <a:gd name="T57" fmla="*/ 50 h 173"/>
                  <a:gd name="T58" fmla="*/ 115 w 406"/>
                  <a:gd name="T59" fmla="*/ 45 h 173"/>
                  <a:gd name="T60" fmla="*/ 144 w 406"/>
                  <a:gd name="T61" fmla="*/ 34 h 173"/>
                  <a:gd name="T62" fmla="*/ 165 w 406"/>
                  <a:gd name="T63" fmla="*/ 32 h 173"/>
                  <a:gd name="T64" fmla="*/ 213 w 406"/>
                  <a:gd name="T65" fmla="*/ 32 h 173"/>
                  <a:gd name="T66" fmla="*/ 249 w 406"/>
                  <a:gd name="T67" fmla="*/ 12 h 173"/>
                  <a:gd name="T68" fmla="*/ 266 w 406"/>
                  <a:gd name="T69" fmla="*/ 3 h 173"/>
                  <a:gd name="T70" fmla="*/ 302 w 406"/>
                  <a:gd name="T71" fmla="*/ 2 h 173"/>
                  <a:gd name="T72" fmla="*/ 317 w 406"/>
                  <a:gd name="T73" fmla="*/ 22 h 173"/>
                  <a:gd name="T74" fmla="*/ 327 w 406"/>
                  <a:gd name="T75" fmla="*/ 22 h 173"/>
                  <a:gd name="T76" fmla="*/ 339 w 406"/>
                  <a:gd name="T77" fmla="*/ 26 h 173"/>
                  <a:gd name="T78" fmla="*/ 360 w 406"/>
                  <a:gd name="T79" fmla="*/ 22 h 173"/>
                  <a:gd name="T80" fmla="*/ 367 w 406"/>
                  <a:gd name="T81" fmla="*/ 21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6" h="173">
                    <a:moveTo>
                      <a:pt x="367" y="21"/>
                    </a:moveTo>
                    <a:cubicBezTo>
                      <a:pt x="366" y="26"/>
                      <a:pt x="367" y="30"/>
                      <a:pt x="365" y="35"/>
                    </a:cubicBezTo>
                    <a:cubicBezTo>
                      <a:pt x="365" y="37"/>
                      <a:pt x="361" y="36"/>
                      <a:pt x="360" y="38"/>
                    </a:cubicBezTo>
                    <a:cubicBezTo>
                      <a:pt x="359" y="40"/>
                      <a:pt x="365" y="48"/>
                      <a:pt x="368" y="48"/>
                    </a:cubicBezTo>
                    <a:cubicBezTo>
                      <a:pt x="369" y="48"/>
                      <a:pt x="373" y="45"/>
                      <a:pt x="373" y="46"/>
                    </a:cubicBezTo>
                    <a:cubicBezTo>
                      <a:pt x="373" y="47"/>
                      <a:pt x="371" y="48"/>
                      <a:pt x="371" y="49"/>
                    </a:cubicBezTo>
                    <a:cubicBezTo>
                      <a:pt x="370" y="51"/>
                      <a:pt x="406" y="47"/>
                      <a:pt x="402" y="66"/>
                    </a:cubicBezTo>
                    <a:cubicBezTo>
                      <a:pt x="397" y="88"/>
                      <a:pt x="392" y="69"/>
                      <a:pt x="379" y="74"/>
                    </a:cubicBezTo>
                    <a:cubicBezTo>
                      <a:pt x="368" y="78"/>
                      <a:pt x="375" y="84"/>
                      <a:pt x="364" y="84"/>
                    </a:cubicBezTo>
                    <a:cubicBezTo>
                      <a:pt x="360" y="84"/>
                      <a:pt x="356" y="83"/>
                      <a:pt x="351" y="83"/>
                    </a:cubicBezTo>
                    <a:cubicBezTo>
                      <a:pt x="351" y="83"/>
                      <a:pt x="350" y="83"/>
                      <a:pt x="350" y="82"/>
                    </a:cubicBezTo>
                    <a:cubicBezTo>
                      <a:pt x="350" y="80"/>
                      <a:pt x="354" y="77"/>
                      <a:pt x="352" y="77"/>
                    </a:cubicBezTo>
                    <a:cubicBezTo>
                      <a:pt x="343" y="74"/>
                      <a:pt x="335" y="78"/>
                      <a:pt x="327" y="80"/>
                    </a:cubicBezTo>
                    <a:cubicBezTo>
                      <a:pt x="318" y="83"/>
                      <a:pt x="321" y="99"/>
                      <a:pt x="314" y="104"/>
                    </a:cubicBezTo>
                    <a:cubicBezTo>
                      <a:pt x="312" y="105"/>
                      <a:pt x="305" y="106"/>
                      <a:pt x="308" y="107"/>
                    </a:cubicBezTo>
                    <a:cubicBezTo>
                      <a:pt x="309" y="108"/>
                      <a:pt x="313" y="109"/>
                      <a:pt x="312" y="110"/>
                    </a:cubicBezTo>
                    <a:cubicBezTo>
                      <a:pt x="302" y="116"/>
                      <a:pt x="286" y="119"/>
                      <a:pt x="278" y="126"/>
                    </a:cubicBezTo>
                    <a:cubicBezTo>
                      <a:pt x="268" y="135"/>
                      <a:pt x="260" y="145"/>
                      <a:pt x="246" y="152"/>
                    </a:cubicBezTo>
                    <a:cubicBezTo>
                      <a:pt x="245" y="153"/>
                      <a:pt x="245" y="153"/>
                      <a:pt x="245" y="153"/>
                    </a:cubicBezTo>
                    <a:cubicBezTo>
                      <a:pt x="245" y="152"/>
                      <a:pt x="245" y="151"/>
                      <a:pt x="244" y="150"/>
                    </a:cubicBezTo>
                    <a:cubicBezTo>
                      <a:pt x="243" y="149"/>
                      <a:pt x="240" y="148"/>
                      <a:pt x="239" y="149"/>
                    </a:cubicBezTo>
                    <a:cubicBezTo>
                      <a:pt x="236" y="150"/>
                      <a:pt x="234" y="153"/>
                      <a:pt x="231" y="154"/>
                    </a:cubicBezTo>
                    <a:cubicBezTo>
                      <a:pt x="230" y="154"/>
                      <a:pt x="230" y="150"/>
                      <a:pt x="228" y="150"/>
                    </a:cubicBezTo>
                    <a:cubicBezTo>
                      <a:pt x="226" y="150"/>
                      <a:pt x="225" y="154"/>
                      <a:pt x="224" y="152"/>
                    </a:cubicBezTo>
                    <a:cubicBezTo>
                      <a:pt x="223" y="150"/>
                      <a:pt x="226" y="149"/>
                      <a:pt x="226" y="146"/>
                    </a:cubicBezTo>
                    <a:cubicBezTo>
                      <a:pt x="227" y="142"/>
                      <a:pt x="218" y="145"/>
                      <a:pt x="214" y="144"/>
                    </a:cubicBezTo>
                    <a:cubicBezTo>
                      <a:pt x="211" y="143"/>
                      <a:pt x="208" y="141"/>
                      <a:pt x="205" y="141"/>
                    </a:cubicBezTo>
                    <a:cubicBezTo>
                      <a:pt x="204" y="141"/>
                      <a:pt x="205" y="144"/>
                      <a:pt x="204" y="144"/>
                    </a:cubicBezTo>
                    <a:cubicBezTo>
                      <a:pt x="195" y="146"/>
                      <a:pt x="202" y="139"/>
                      <a:pt x="200" y="136"/>
                    </a:cubicBezTo>
                    <a:cubicBezTo>
                      <a:pt x="198" y="135"/>
                      <a:pt x="196" y="138"/>
                      <a:pt x="195" y="139"/>
                    </a:cubicBezTo>
                    <a:cubicBezTo>
                      <a:pt x="192" y="140"/>
                      <a:pt x="188" y="140"/>
                      <a:pt x="187" y="142"/>
                    </a:cubicBezTo>
                    <a:cubicBezTo>
                      <a:pt x="185" y="146"/>
                      <a:pt x="189" y="150"/>
                      <a:pt x="187" y="154"/>
                    </a:cubicBezTo>
                    <a:cubicBezTo>
                      <a:pt x="185" y="156"/>
                      <a:pt x="182" y="155"/>
                      <a:pt x="180" y="156"/>
                    </a:cubicBezTo>
                    <a:cubicBezTo>
                      <a:pt x="172" y="158"/>
                      <a:pt x="163" y="158"/>
                      <a:pt x="157" y="163"/>
                    </a:cubicBezTo>
                    <a:cubicBezTo>
                      <a:pt x="155" y="165"/>
                      <a:pt x="157" y="169"/>
                      <a:pt x="154" y="171"/>
                    </a:cubicBezTo>
                    <a:cubicBezTo>
                      <a:pt x="152" y="173"/>
                      <a:pt x="148" y="172"/>
                      <a:pt x="145" y="172"/>
                    </a:cubicBezTo>
                    <a:cubicBezTo>
                      <a:pt x="142" y="172"/>
                      <a:pt x="140" y="172"/>
                      <a:pt x="136" y="172"/>
                    </a:cubicBezTo>
                    <a:cubicBezTo>
                      <a:pt x="135" y="172"/>
                      <a:pt x="135" y="172"/>
                      <a:pt x="135" y="172"/>
                    </a:cubicBezTo>
                    <a:cubicBezTo>
                      <a:pt x="136" y="169"/>
                      <a:pt x="136" y="166"/>
                      <a:pt x="137" y="163"/>
                    </a:cubicBezTo>
                    <a:cubicBezTo>
                      <a:pt x="140" y="153"/>
                      <a:pt x="144" y="155"/>
                      <a:pt x="140" y="145"/>
                    </a:cubicBezTo>
                    <a:cubicBezTo>
                      <a:pt x="136" y="131"/>
                      <a:pt x="121" y="124"/>
                      <a:pt x="112" y="112"/>
                    </a:cubicBezTo>
                    <a:cubicBezTo>
                      <a:pt x="108" y="107"/>
                      <a:pt x="106" y="96"/>
                      <a:pt x="99" y="93"/>
                    </a:cubicBezTo>
                    <a:cubicBezTo>
                      <a:pt x="95" y="91"/>
                      <a:pt x="90" y="92"/>
                      <a:pt x="86" y="92"/>
                    </a:cubicBezTo>
                    <a:cubicBezTo>
                      <a:pt x="84" y="92"/>
                      <a:pt x="83" y="94"/>
                      <a:pt x="81" y="94"/>
                    </a:cubicBezTo>
                    <a:cubicBezTo>
                      <a:pt x="76" y="94"/>
                      <a:pt x="75" y="86"/>
                      <a:pt x="70" y="84"/>
                    </a:cubicBezTo>
                    <a:cubicBezTo>
                      <a:pt x="56" y="78"/>
                      <a:pt x="56" y="83"/>
                      <a:pt x="45" y="86"/>
                    </a:cubicBezTo>
                    <a:cubicBezTo>
                      <a:pt x="43" y="87"/>
                      <a:pt x="42" y="86"/>
                      <a:pt x="40" y="86"/>
                    </a:cubicBezTo>
                    <a:cubicBezTo>
                      <a:pt x="37" y="86"/>
                      <a:pt x="34" y="85"/>
                      <a:pt x="32" y="86"/>
                    </a:cubicBezTo>
                    <a:cubicBezTo>
                      <a:pt x="30" y="86"/>
                      <a:pt x="32" y="88"/>
                      <a:pt x="31" y="89"/>
                    </a:cubicBezTo>
                    <a:cubicBezTo>
                      <a:pt x="26" y="91"/>
                      <a:pt x="25" y="80"/>
                      <a:pt x="20" y="79"/>
                    </a:cubicBezTo>
                    <a:cubicBezTo>
                      <a:pt x="16" y="77"/>
                      <a:pt x="12" y="79"/>
                      <a:pt x="7" y="79"/>
                    </a:cubicBezTo>
                    <a:cubicBezTo>
                      <a:pt x="6" y="79"/>
                      <a:pt x="4" y="80"/>
                      <a:pt x="3" y="80"/>
                    </a:cubicBezTo>
                    <a:cubicBezTo>
                      <a:pt x="2" y="79"/>
                      <a:pt x="1" y="79"/>
                      <a:pt x="0" y="77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7" y="51"/>
                      <a:pt x="13" y="66"/>
                      <a:pt x="30" y="58"/>
                    </a:cubicBezTo>
                    <a:cubicBezTo>
                      <a:pt x="33" y="56"/>
                      <a:pt x="34" y="53"/>
                      <a:pt x="37" y="52"/>
                    </a:cubicBezTo>
                    <a:cubicBezTo>
                      <a:pt x="45" y="50"/>
                      <a:pt x="52" y="58"/>
                      <a:pt x="59" y="56"/>
                    </a:cubicBezTo>
                    <a:cubicBezTo>
                      <a:pt x="60" y="56"/>
                      <a:pt x="75" y="50"/>
                      <a:pt x="77" y="50"/>
                    </a:cubicBezTo>
                    <a:cubicBezTo>
                      <a:pt x="81" y="50"/>
                      <a:pt x="85" y="55"/>
                      <a:pt x="90" y="55"/>
                    </a:cubicBezTo>
                    <a:cubicBezTo>
                      <a:pt x="90" y="55"/>
                      <a:pt x="115" y="45"/>
                      <a:pt x="115" y="45"/>
                    </a:cubicBezTo>
                    <a:cubicBezTo>
                      <a:pt x="130" y="36"/>
                      <a:pt x="98" y="41"/>
                      <a:pt x="131" y="33"/>
                    </a:cubicBezTo>
                    <a:cubicBezTo>
                      <a:pt x="135" y="33"/>
                      <a:pt x="140" y="35"/>
                      <a:pt x="144" y="34"/>
                    </a:cubicBezTo>
                    <a:cubicBezTo>
                      <a:pt x="144" y="34"/>
                      <a:pt x="154" y="26"/>
                      <a:pt x="163" y="28"/>
                    </a:cubicBezTo>
                    <a:cubicBezTo>
                      <a:pt x="164" y="29"/>
                      <a:pt x="163" y="31"/>
                      <a:pt x="165" y="32"/>
                    </a:cubicBezTo>
                    <a:cubicBezTo>
                      <a:pt x="167" y="33"/>
                      <a:pt x="170" y="34"/>
                      <a:pt x="172" y="35"/>
                    </a:cubicBezTo>
                    <a:cubicBezTo>
                      <a:pt x="185" y="36"/>
                      <a:pt x="200" y="32"/>
                      <a:pt x="213" y="32"/>
                    </a:cubicBezTo>
                    <a:cubicBezTo>
                      <a:pt x="217" y="32"/>
                      <a:pt x="207" y="43"/>
                      <a:pt x="215" y="43"/>
                    </a:cubicBezTo>
                    <a:cubicBezTo>
                      <a:pt x="238" y="43"/>
                      <a:pt x="232" y="20"/>
                      <a:pt x="249" y="12"/>
                    </a:cubicBezTo>
                    <a:cubicBezTo>
                      <a:pt x="254" y="10"/>
                      <a:pt x="260" y="20"/>
                      <a:pt x="264" y="17"/>
                    </a:cubicBezTo>
                    <a:cubicBezTo>
                      <a:pt x="268" y="14"/>
                      <a:pt x="261" y="4"/>
                      <a:pt x="266" y="3"/>
                    </a:cubicBezTo>
                    <a:cubicBezTo>
                      <a:pt x="283" y="0"/>
                      <a:pt x="282" y="8"/>
                      <a:pt x="294" y="8"/>
                    </a:cubicBezTo>
                    <a:cubicBezTo>
                      <a:pt x="297" y="8"/>
                      <a:pt x="299" y="3"/>
                      <a:pt x="302" y="2"/>
                    </a:cubicBezTo>
                    <a:cubicBezTo>
                      <a:pt x="305" y="0"/>
                      <a:pt x="309" y="0"/>
                      <a:pt x="313" y="0"/>
                    </a:cubicBezTo>
                    <a:cubicBezTo>
                      <a:pt x="319" y="0"/>
                      <a:pt x="316" y="19"/>
                      <a:pt x="317" y="22"/>
                    </a:cubicBezTo>
                    <a:cubicBezTo>
                      <a:pt x="317" y="23"/>
                      <a:pt x="318" y="22"/>
                      <a:pt x="319" y="22"/>
                    </a:cubicBezTo>
                    <a:cubicBezTo>
                      <a:pt x="322" y="22"/>
                      <a:pt x="324" y="22"/>
                      <a:pt x="327" y="22"/>
                    </a:cubicBezTo>
                    <a:cubicBezTo>
                      <a:pt x="329" y="22"/>
                      <a:pt x="332" y="21"/>
                      <a:pt x="334" y="22"/>
                    </a:cubicBezTo>
                    <a:cubicBezTo>
                      <a:pt x="337" y="23"/>
                      <a:pt x="338" y="26"/>
                      <a:pt x="339" y="26"/>
                    </a:cubicBezTo>
                    <a:cubicBezTo>
                      <a:pt x="340" y="26"/>
                      <a:pt x="354" y="20"/>
                      <a:pt x="354" y="20"/>
                    </a:cubicBezTo>
                    <a:cubicBezTo>
                      <a:pt x="356" y="20"/>
                      <a:pt x="358" y="22"/>
                      <a:pt x="360" y="22"/>
                    </a:cubicBezTo>
                    <a:cubicBezTo>
                      <a:pt x="361" y="22"/>
                      <a:pt x="364" y="21"/>
                      <a:pt x="367" y="20"/>
                    </a:cubicBezTo>
                    <a:lnTo>
                      <a:pt x="367" y="2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1" name="Freeform 11"/>
              <p:cNvSpPr>
                <a:spLocks noEditPoints="1"/>
              </p:cNvSpPr>
              <p:nvPr/>
            </p:nvSpPr>
            <p:spPr bwMode="auto">
              <a:xfrm>
                <a:off x="6591490" y="5081389"/>
                <a:ext cx="1849734" cy="1181922"/>
              </a:xfrm>
              <a:custGeom>
                <a:avLst/>
                <a:gdLst>
                  <a:gd name="T0" fmla="*/ 1002 w 1106"/>
                  <a:gd name="T1" fmla="*/ 290 h 656"/>
                  <a:gd name="T2" fmla="*/ 1095 w 1106"/>
                  <a:gd name="T3" fmla="*/ 254 h 656"/>
                  <a:gd name="T4" fmla="*/ 1052 w 1106"/>
                  <a:gd name="T5" fmla="*/ 217 h 656"/>
                  <a:gd name="T6" fmla="*/ 1016 w 1106"/>
                  <a:gd name="T7" fmla="*/ 143 h 656"/>
                  <a:gd name="T8" fmla="*/ 1030 w 1106"/>
                  <a:gd name="T9" fmla="*/ 81 h 656"/>
                  <a:gd name="T10" fmla="*/ 945 w 1106"/>
                  <a:gd name="T11" fmla="*/ 40 h 656"/>
                  <a:gd name="T12" fmla="*/ 900 w 1106"/>
                  <a:gd name="T13" fmla="*/ 15 h 656"/>
                  <a:gd name="T14" fmla="*/ 876 w 1106"/>
                  <a:gd name="T15" fmla="*/ 9 h 656"/>
                  <a:gd name="T16" fmla="*/ 852 w 1106"/>
                  <a:gd name="T17" fmla="*/ 21 h 656"/>
                  <a:gd name="T18" fmla="*/ 807 w 1106"/>
                  <a:gd name="T19" fmla="*/ 37 h 656"/>
                  <a:gd name="T20" fmla="*/ 740 w 1106"/>
                  <a:gd name="T21" fmla="*/ 115 h 656"/>
                  <a:gd name="T22" fmla="*/ 700 w 1106"/>
                  <a:gd name="T23" fmla="*/ 122 h 656"/>
                  <a:gd name="T24" fmla="*/ 627 w 1106"/>
                  <a:gd name="T25" fmla="*/ 149 h 656"/>
                  <a:gd name="T26" fmla="*/ 585 w 1106"/>
                  <a:gd name="T27" fmla="*/ 156 h 656"/>
                  <a:gd name="T28" fmla="*/ 517 w 1106"/>
                  <a:gd name="T29" fmla="*/ 144 h 656"/>
                  <a:gd name="T30" fmla="*/ 453 w 1106"/>
                  <a:gd name="T31" fmla="*/ 147 h 656"/>
                  <a:gd name="T32" fmla="*/ 289 w 1106"/>
                  <a:gd name="T33" fmla="*/ 254 h 656"/>
                  <a:gd name="T34" fmla="*/ 227 w 1106"/>
                  <a:gd name="T35" fmla="*/ 280 h 656"/>
                  <a:gd name="T36" fmla="*/ 176 w 1106"/>
                  <a:gd name="T37" fmla="*/ 320 h 656"/>
                  <a:gd name="T38" fmla="*/ 216 w 1106"/>
                  <a:gd name="T39" fmla="*/ 318 h 656"/>
                  <a:gd name="T40" fmla="*/ 143 w 1106"/>
                  <a:gd name="T41" fmla="*/ 366 h 656"/>
                  <a:gd name="T42" fmla="*/ 101 w 1106"/>
                  <a:gd name="T43" fmla="*/ 367 h 656"/>
                  <a:gd name="T44" fmla="*/ 45 w 1106"/>
                  <a:gd name="T45" fmla="*/ 392 h 656"/>
                  <a:gd name="T46" fmla="*/ 21 w 1106"/>
                  <a:gd name="T47" fmla="*/ 430 h 656"/>
                  <a:gd name="T48" fmla="*/ 60 w 1106"/>
                  <a:gd name="T49" fmla="*/ 471 h 656"/>
                  <a:gd name="T50" fmla="*/ 72 w 1106"/>
                  <a:gd name="T51" fmla="*/ 517 h 656"/>
                  <a:gd name="T52" fmla="*/ 74 w 1106"/>
                  <a:gd name="T53" fmla="*/ 533 h 656"/>
                  <a:gd name="T54" fmla="*/ 56 w 1106"/>
                  <a:gd name="T55" fmla="*/ 535 h 656"/>
                  <a:gd name="T56" fmla="*/ 50 w 1106"/>
                  <a:gd name="T57" fmla="*/ 551 h 656"/>
                  <a:gd name="T58" fmla="*/ 96 w 1106"/>
                  <a:gd name="T59" fmla="*/ 555 h 656"/>
                  <a:gd name="T60" fmla="*/ 119 w 1106"/>
                  <a:gd name="T61" fmla="*/ 604 h 656"/>
                  <a:gd name="T62" fmla="*/ 137 w 1106"/>
                  <a:gd name="T63" fmla="*/ 624 h 656"/>
                  <a:gd name="T64" fmla="*/ 190 w 1106"/>
                  <a:gd name="T65" fmla="*/ 611 h 656"/>
                  <a:gd name="T66" fmla="*/ 150 w 1106"/>
                  <a:gd name="T67" fmla="*/ 647 h 656"/>
                  <a:gd name="T68" fmla="*/ 176 w 1106"/>
                  <a:gd name="T69" fmla="*/ 647 h 656"/>
                  <a:gd name="T70" fmla="*/ 225 w 1106"/>
                  <a:gd name="T71" fmla="*/ 633 h 656"/>
                  <a:gd name="T72" fmla="*/ 284 w 1106"/>
                  <a:gd name="T73" fmla="*/ 655 h 656"/>
                  <a:gd name="T74" fmla="*/ 325 w 1106"/>
                  <a:gd name="T75" fmla="*/ 623 h 656"/>
                  <a:gd name="T76" fmla="*/ 459 w 1106"/>
                  <a:gd name="T77" fmla="*/ 610 h 656"/>
                  <a:gd name="T78" fmla="*/ 513 w 1106"/>
                  <a:gd name="T79" fmla="*/ 581 h 656"/>
                  <a:gd name="T80" fmla="*/ 553 w 1106"/>
                  <a:gd name="T81" fmla="*/ 522 h 656"/>
                  <a:gd name="T82" fmla="*/ 619 w 1106"/>
                  <a:gd name="T83" fmla="*/ 502 h 656"/>
                  <a:gd name="T84" fmla="*/ 649 w 1106"/>
                  <a:gd name="T85" fmla="*/ 496 h 656"/>
                  <a:gd name="T86" fmla="*/ 665 w 1106"/>
                  <a:gd name="T87" fmla="*/ 544 h 656"/>
                  <a:gd name="T88" fmla="*/ 670 w 1106"/>
                  <a:gd name="T89" fmla="*/ 474 h 656"/>
                  <a:gd name="T90" fmla="*/ 765 w 1106"/>
                  <a:gd name="T91" fmla="*/ 431 h 656"/>
                  <a:gd name="T92" fmla="*/ 958 w 1106"/>
                  <a:gd name="T93" fmla="*/ 321 h 656"/>
                  <a:gd name="T94" fmla="*/ 81 w 1106"/>
                  <a:gd name="T95" fmla="*/ 259 h 656"/>
                  <a:gd name="T96" fmla="*/ 17 w 1106"/>
                  <a:gd name="T97" fmla="*/ 276 h 656"/>
                  <a:gd name="T98" fmla="*/ 16 w 1106"/>
                  <a:gd name="T99" fmla="*/ 355 h 656"/>
                  <a:gd name="T100" fmla="*/ 19 w 1106"/>
                  <a:gd name="T101" fmla="*/ 402 h 656"/>
                  <a:gd name="T102" fmla="*/ 73 w 1106"/>
                  <a:gd name="T103" fmla="*/ 361 h 656"/>
                  <a:gd name="T104" fmla="*/ 119 w 1106"/>
                  <a:gd name="T105" fmla="*/ 320 h 656"/>
                  <a:gd name="T106" fmla="*/ 163 w 1106"/>
                  <a:gd name="T107" fmla="*/ 297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06" h="656">
                    <a:moveTo>
                      <a:pt x="977" y="319"/>
                    </a:moveTo>
                    <a:cubicBezTo>
                      <a:pt x="979" y="318"/>
                      <a:pt x="980" y="316"/>
                      <a:pt x="981" y="315"/>
                    </a:cubicBezTo>
                    <a:cubicBezTo>
                      <a:pt x="984" y="312"/>
                      <a:pt x="986" y="311"/>
                      <a:pt x="987" y="308"/>
                    </a:cubicBezTo>
                    <a:cubicBezTo>
                      <a:pt x="988" y="306"/>
                      <a:pt x="988" y="291"/>
                      <a:pt x="991" y="290"/>
                    </a:cubicBezTo>
                    <a:cubicBezTo>
                      <a:pt x="995" y="289"/>
                      <a:pt x="999" y="292"/>
                      <a:pt x="1002" y="290"/>
                    </a:cubicBezTo>
                    <a:cubicBezTo>
                      <a:pt x="1006" y="289"/>
                      <a:pt x="1007" y="282"/>
                      <a:pt x="1011" y="281"/>
                    </a:cubicBezTo>
                    <a:cubicBezTo>
                      <a:pt x="1019" y="276"/>
                      <a:pt x="1048" y="282"/>
                      <a:pt x="1055" y="272"/>
                    </a:cubicBezTo>
                    <a:cubicBezTo>
                      <a:pt x="1064" y="261"/>
                      <a:pt x="1051" y="263"/>
                      <a:pt x="1064" y="259"/>
                    </a:cubicBezTo>
                    <a:cubicBezTo>
                      <a:pt x="1081" y="254"/>
                      <a:pt x="1071" y="272"/>
                      <a:pt x="1081" y="278"/>
                    </a:cubicBezTo>
                    <a:cubicBezTo>
                      <a:pt x="1085" y="281"/>
                      <a:pt x="1089" y="259"/>
                      <a:pt x="1095" y="254"/>
                    </a:cubicBezTo>
                    <a:cubicBezTo>
                      <a:pt x="1098" y="252"/>
                      <a:pt x="1106" y="254"/>
                      <a:pt x="1105" y="251"/>
                    </a:cubicBezTo>
                    <a:cubicBezTo>
                      <a:pt x="1092" y="232"/>
                      <a:pt x="1102" y="249"/>
                      <a:pt x="1086" y="238"/>
                    </a:cubicBezTo>
                    <a:cubicBezTo>
                      <a:pt x="1078" y="233"/>
                      <a:pt x="1079" y="220"/>
                      <a:pt x="1079" y="219"/>
                    </a:cubicBezTo>
                    <a:cubicBezTo>
                      <a:pt x="1078" y="217"/>
                      <a:pt x="1061" y="215"/>
                      <a:pt x="1059" y="215"/>
                    </a:cubicBezTo>
                    <a:cubicBezTo>
                      <a:pt x="1057" y="215"/>
                      <a:pt x="1053" y="220"/>
                      <a:pt x="1052" y="217"/>
                    </a:cubicBezTo>
                    <a:cubicBezTo>
                      <a:pt x="1050" y="209"/>
                      <a:pt x="1053" y="198"/>
                      <a:pt x="1053" y="190"/>
                    </a:cubicBezTo>
                    <a:cubicBezTo>
                      <a:pt x="1053" y="187"/>
                      <a:pt x="1054" y="184"/>
                      <a:pt x="1054" y="181"/>
                    </a:cubicBezTo>
                    <a:cubicBezTo>
                      <a:pt x="1049" y="168"/>
                      <a:pt x="1045" y="187"/>
                      <a:pt x="1040" y="178"/>
                    </a:cubicBezTo>
                    <a:cubicBezTo>
                      <a:pt x="1040" y="177"/>
                      <a:pt x="1027" y="149"/>
                      <a:pt x="1027" y="149"/>
                    </a:cubicBezTo>
                    <a:cubicBezTo>
                      <a:pt x="1020" y="147"/>
                      <a:pt x="1024" y="159"/>
                      <a:pt x="1016" y="143"/>
                    </a:cubicBezTo>
                    <a:cubicBezTo>
                      <a:pt x="1015" y="140"/>
                      <a:pt x="1016" y="136"/>
                      <a:pt x="1015" y="133"/>
                    </a:cubicBezTo>
                    <a:cubicBezTo>
                      <a:pt x="1012" y="127"/>
                      <a:pt x="1002" y="127"/>
                      <a:pt x="998" y="121"/>
                    </a:cubicBezTo>
                    <a:cubicBezTo>
                      <a:pt x="995" y="115"/>
                      <a:pt x="1015" y="117"/>
                      <a:pt x="1016" y="107"/>
                    </a:cubicBezTo>
                    <a:cubicBezTo>
                      <a:pt x="1018" y="92"/>
                      <a:pt x="995" y="74"/>
                      <a:pt x="1029" y="82"/>
                    </a:cubicBezTo>
                    <a:cubicBezTo>
                      <a:pt x="1030" y="81"/>
                      <a:pt x="1030" y="81"/>
                      <a:pt x="1030" y="81"/>
                    </a:cubicBezTo>
                    <a:cubicBezTo>
                      <a:pt x="1023" y="78"/>
                      <a:pt x="1012" y="73"/>
                      <a:pt x="1007" y="71"/>
                    </a:cubicBezTo>
                    <a:cubicBezTo>
                      <a:pt x="987" y="65"/>
                      <a:pt x="980" y="80"/>
                      <a:pt x="956" y="81"/>
                    </a:cubicBezTo>
                    <a:cubicBezTo>
                      <a:pt x="955" y="81"/>
                      <a:pt x="959" y="77"/>
                      <a:pt x="958" y="76"/>
                    </a:cubicBezTo>
                    <a:cubicBezTo>
                      <a:pt x="956" y="72"/>
                      <a:pt x="951" y="71"/>
                      <a:pt x="947" y="67"/>
                    </a:cubicBezTo>
                    <a:cubicBezTo>
                      <a:pt x="941" y="61"/>
                      <a:pt x="946" y="48"/>
                      <a:pt x="945" y="40"/>
                    </a:cubicBezTo>
                    <a:cubicBezTo>
                      <a:pt x="941" y="25"/>
                      <a:pt x="924" y="26"/>
                      <a:pt x="919" y="22"/>
                    </a:cubicBezTo>
                    <a:cubicBezTo>
                      <a:pt x="917" y="20"/>
                      <a:pt x="918" y="17"/>
                      <a:pt x="916" y="15"/>
                    </a:cubicBezTo>
                    <a:cubicBezTo>
                      <a:pt x="915" y="14"/>
                      <a:pt x="912" y="13"/>
                      <a:pt x="911" y="14"/>
                    </a:cubicBezTo>
                    <a:cubicBezTo>
                      <a:pt x="908" y="15"/>
                      <a:pt x="906" y="18"/>
                      <a:pt x="903" y="19"/>
                    </a:cubicBezTo>
                    <a:cubicBezTo>
                      <a:pt x="902" y="19"/>
                      <a:pt x="902" y="15"/>
                      <a:pt x="900" y="15"/>
                    </a:cubicBezTo>
                    <a:cubicBezTo>
                      <a:pt x="898" y="15"/>
                      <a:pt x="897" y="19"/>
                      <a:pt x="896" y="17"/>
                    </a:cubicBezTo>
                    <a:cubicBezTo>
                      <a:pt x="895" y="15"/>
                      <a:pt x="898" y="14"/>
                      <a:pt x="898" y="11"/>
                    </a:cubicBezTo>
                    <a:cubicBezTo>
                      <a:pt x="899" y="7"/>
                      <a:pt x="890" y="10"/>
                      <a:pt x="886" y="9"/>
                    </a:cubicBezTo>
                    <a:cubicBezTo>
                      <a:pt x="883" y="8"/>
                      <a:pt x="880" y="6"/>
                      <a:pt x="877" y="6"/>
                    </a:cubicBezTo>
                    <a:cubicBezTo>
                      <a:pt x="876" y="6"/>
                      <a:pt x="877" y="9"/>
                      <a:pt x="876" y="9"/>
                    </a:cubicBezTo>
                    <a:cubicBezTo>
                      <a:pt x="867" y="11"/>
                      <a:pt x="874" y="4"/>
                      <a:pt x="872" y="1"/>
                    </a:cubicBezTo>
                    <a:cubicBezTo>
                      <a:pt x="870" y="0"/>
                      <a:pt x="868" y="3"/>
                      <a:pt x="867" y="4"/>
                    </a:cubicBezTo>
                    <a:cubicBezTo>
                      <a:pt x="864" y="5"/>
                      <a:pt x="860" y="5"/>
                      <a:pt x="859" y="7"/>
                    </a:cubicBezTo>
                    <a:cubicBezTo>
                      <a:pt x="857" y="11"/>
                      <a:pt x="861" y="15"/>
                      <a:pt x="859" y="19"/>
                    </a:cubicBezTo>
                    <a:cubicBezTo>
                      <a:pt x="857" y="21"/>
                      <a:pt x="854" y="20"/>
                      <a:pt x="852" y="21"/>
                    </a:cubicBezTo>
                    <a:cubicBezTo>
                      <a:pt x="844" y="23"/>
                      <a:pt x="835" y="23"/>
                      <a:pt x="829" y="28"/>
                    </a:cubicBezTo>
                    <a:cubicBezTo>
                      <a:pt x="827" y="30"/>
                      <a:pt x="829" y="34"/>
                      <a:pt x="826" y="36"/>
                    </a:cubicBezTo>
                    <a:cubicBezTo>
                      <a:pt x="824" y="38"/>
                      <a:pt x="820" y="37"/>
                      <a:pt x="817" y="37"/>
                    </a:cubicBezTo>
                    <a:cubicBezTo>
                      <a:pt x="814" y="37"/>
                      <a:pt x="812" y="37"/>
                      <a:pt x="808" y="37"/>
                    </a:cubicBezTo>
                    <a:cubicBezTo>
                      <a:pt x="807" y="37"/>
                      <a:pt x="807" y="37"/>
                      <a:pt x="807" y="37"/>
                    </a:cubicBezTo>
                    <a:cubicBezTo>
                      <a:pt x="804" y="51"/>
                      <a:pt x="800" y="62"/>
                      <a:pt x="788" y="73"/>
                    </a:cubicBezTo>
                    <a:cubicBezTo>
                      <a:pt x="786" y="75"/>
                      <a:pt x="783" y="74"/>
                      <a:pt x="782" y="76"/>
                    </a:cubicBezTo>
                    <a:cubicBezTo>
                      <a:pt x="775" y="84"/>
                      <a:pt x="766" y="106"/>
                      <a:pt x="755" y="112"/>
                    </a:cubicBezTo>
                    <a:cubicBezTo>
                      <a:pt x="752" y="113"/>
                      <a:pt x="748" y="109"/>
                      <a:pt x="745" y="110"/>
                    </a:cubicBezTo>
                    <a:cubicBezTo>
                      <a:pt x="743" y="110"/>
                      <a:pt x="743" y="114"/>
                      <a:pt x="740" y="115"/>
                    </a:cubicBezTo>
                    <a:cubicBezTo>
                      <a:pt x="738" y="116"/>
                      <a:pt x="736" y="114"/>
                      <a:pt x="734" y="114"/>
                    </a:cubicBezTo>
                    <a:cubicBezTo>
                      <a:pt x="731" y="114"/>
                      <a:pt x="730" y="117"/>
                      <a:pt x="727" y="117"/>
                    </a:cubicBezTo>
                    <a:cubicBezTo>
                      <a:pt x="726" y="117"/>
                      <a:pt x="715" y="111"/>
                      <a:pt x="712" y="114"/>
                    </a:cubicBezTo>
                    <a:cubicBezTo>
                      <a:pt x="709" y="116"/>
                      <a:pt x="709" y="120"/>
                      <a:pt x="707" y="122"/>
                    </a:cubicBezTo>
                    <a:cubicBezTo>
                      <a:pt x="705" y="123"/>
                      <a:pt x="702" y="121"/>
                      <a:pt x="700" y="122"/>
                    </a:cubicBezTo>
                    <a:cubicBezTo>
                      <a:pt x="697" y="123"/>
                      <a:pt x="697" y="126"/>
                      <a:pt x="695" y="128"/>
                    </a:cubicBezTo>
                    <a:cubicBezTo>
                      <a:pt x="692" y="131"/>
                      <a:pt x="687" y="131"/>
                      <a:pt x="683" y="134"/>
                    </a:cubicBezTo>
                    <a:cubicBezTo>
                      <a:pt x="678" y="139"/>
                      <a:pt x="677" y="143"/>
                      <a:pt x="671" y="148"/>
                    </a:cubicBezTo>
                    <a:cubicBezTo>
                      <a:pt x="663" y="153"/>
                      <a:pt x="645" y="156"/>
                      <a:pt x="637" y="156"/>
                    </a:cubicBezTo>
                    <a:cubicBezTo>
                      <a:pt x="616" y="156"/>
                      <a:pt x="639" y="154"/>
                      <a:pt x="627" y="149"/>
                    </a:cubicBezTo>
                    <a:cubicBezTo>
                      <a:pt x="620" y="147"/>
                      <a:pt x="619" y="160"/>
                      <a:pt x="616" y="161"/>
                    </a:cubicBezTo>
                    <a:cubicBezTo>
                      <a:pt x="612" y="163"/>
                      <a:pt x="607" y="160"/>
                      <a:pt x="603" y="160"/>
                    </a:cubicBezTo>
                    <a:cubicBezTo>
                      <a:pt x="602" y="159"/>
                      <a:pt x="602" y="157"/>
                      <a:pt x="601" y="157"/>
                    </a:cubicBezTo>
                    <a:cubicBezTo>
                      <a:pt x="597" y="158"/>
                      <a:pt x="593" y="162"/>
                      <a:pt x="588" y="161"/>
                    </a:cubicBezTo>
                    <a:cubicBezTo>
                      <a:pt x="586" y="161"/>
                      <a:pt x="586" y="157"/>
                      <a:pt x="585" y="156"/>
                    </a:cubicBezTo>
                    <a:cubicBezTo>
                      <a:pt x="582" y="154"/>
                      <a:pt x="578" y="152"/>
                      <a:pt x="574" y="152"/>
                    </a:cubicBezTo>
                    <a:cubicBezTo>
                      <a:pt x="552" y="153"/>
                      <a:pt x="563" y="175"/>
                      <a:pt x="541" y="165"/>
                    </a:cubicBezTo>
                    <a:cubicBezTo>
                      <a:pt x="534" y="162"/>
                      <a:pt x="530" y="144"/>
                      <a:pt x="523" y="146"/>
                    </a:cubicBezTo>
                    <a:cubicBezTo>
                      <a:pt x="520" y="146"/>
                      <a:pt x="520" y="152"/>
                      <a:pt x="517" y="151"/>
                    </a:cubicBezTo>
                    <a:cubicBezTo>
                      <a:pt x="515" y="151"/>
                      <a:pt x="520" y="144"/>
                      <a:pt x="517" y="144"/>
                    </a:cubicBezTo>
                    <a:cubicBezTo>
                      <a:pt x="511" y="144"/>
                      <a:pt x="502" y="165"/>
                      <a:pt x="482" y="158"/>
                    </a:cubicBezTo>
                    <a:cubicBezTo>
                      <a:pt x="461" y="150"/>
                      <a:pt x="473" y="139"/>
                      <a:pt x="472" y="138"/>
                    </a:cubicBezTo>
                    <a:cubicBezTo>
                      <a:pt x="469" y="135"/>
                      <a:pt x="464" y="137"/>
                      <a:pt x="460" y="137"/>
                    </a:cubicBezTo>
                    <a:cubicBezTo>
                      <a:pt x="459" y="137"/>
                      <a:pt x="457" y="136"/>
                      <a:pt x="456" y="137"/>
                    </a:cubicBezTo>
                    <a:cubicBezTo>
                      <a:pt x="455" y="140"/>
                      <a:pt x="456" y="144"/>
                      <a:pt x="453" y="147"/>
                    </a:cubicBezTo>
                    <a:cubicBezTo>
                      <a:pt x="447" y="159"/>
                      <a:pt x="388" y="166"/>
                      <a:pt x="374" y="173"/>
                    </a:cubicBezTo>
                    <a:cubicBezTo>
                      <a:pt x="367" y="175"/>
                      <a:pt x="361" y="184"/>
                      <a:pt x="356" y="189"/>
                    </a:cubicBezTo>
                    <a:cubicBezTo>
                      <a:pt x="352" y="193"/>
                      <a:pt x="344" y="195"/>
                      <a:pt x="339" y="198"/>
                    </a:cubicBezTo>
                    <a:cubicBezTo>
                      <a:pt x="324" y="209"/>
                      <a:pt x="315" y="227"/>
                      <a:pt x="302" y="241"/>
                    </a:cubicBezTo>
                    <a:cubicBezTo>
                      <a:pt x="298" y="245"/>
                      <a:pt x="293" y="251"/>
                      <a:pt x="289" y="254"/>
                    </a:cubicBezTo>
                    <a:cubicBezTo>
                      <a:pt x="288" y="255"/>
                      <a:pt x="285" y="254"/>
                      <a:pt x="285" y="255"/>
                    </a:cubicBezTo>
                    <a:cubicBezTo>
                      <a:pt x="283" y="267"/>
                      <a:pt x="292" y="267"/>
                      <a:pt x="281" y="275"/>
                    </a:cubicBezTo>
                    <a:cubicBezTo>
                      <a:pt x="280" y="276"/>
                      <a:pt x="277" y="275"/>
                      <a:pt x="275" y="275"/>
                    </a:cubicBezTo>
                    <a:cubicBezTo>
                      <a:pt x="262" y="280"/>
                      <a:pt x="272" y="282"/>
                      <a:pt x="255" y="282"/>
                    </a:cubicBezTo>
                    <a:cubicBezTo>
                      <a:pt x="249" y="282"/>
                      <a:pt x="233" y="278"/>
                      <a:pt x="227" y="280"/>
                    </a:cubicBezTo>
                    <a:cubicBezTo>
                      <a:pt x="225" y="281"/>
                      <a:pt x="226" y="284"/>
                      <a:pt x="224" y="285"/>
                    </a:cubicBezTo>
                    <a:cubicBezTo>
                      <a:pt x="218" y="290"/>
                      <a:pt x="207" y="293"/>
                      <a:pt x="199" y="293"/>
                    </a:cubicBezTo>
                    <a:cubicBezTo>
                      <a:pt x="189" y="294"/>
                      <a:pt x="167" y="295"/>
                      <a:pt x="167" y="296"/>
                    </a:cubicBezTo>
                    <a:cubicBezTo>
                      <a:pt x="164" y="301"/>
                      <a:pt x="163" y="307"/>
                      <a:pt x="162" y="312"/>
                    </a:cubicBezTo>
                    <a:cubicBezTo>
                      <a:pt x="160" y="320"/>
                      <a:pt x="175" y="320"/>
                      <a:pt x="176" y="320"/>
                    </a:cubicBezTo>
                    <a:cubicBezTo>
                      <a:pt x="177" y="320"/>
                      <a:pt x="179" y="320"/>
                      <a:pt x="180" y="321"/>
                    </a:cubicBezTo>
                    <a:cubicBezTo>
                      <a:pt x="180" y="323"/>
                      <a:pt x="177" y="325"/>
                      <a:pt x="178" y="326"/>
                    </a:cubicBezTo>
                    <a:cubicBezTo>
                      <a:pt x="180" y="327"/>
                      <a:pt x="181" y="323"/>
                      <a:pt x="183" y="323"/>
                    </a:cubicBezTo>
                    <a:cubicBezTo>
                      <a:pt x="184" y="324"/>
                      <a:pt x="184" y="327"/>
                      <a:pt x="185" y="327"/>
                    </a:cubicBezTo>
                    <a:cubicBezTo>
                      <a:pt x="195" y="328"/>
                      <a:pt x="205" y="317"/>
                      <a:pt x="216" y="318"/>
                    </a:cubicBezTo>
                    <a:cubicBezTo>
                      <a:pt x="226" y="319"/>
                      <a:pt x="199" y="329"/>
                      <a:pt x="197" y="330"/>
                    </a:cubicBezTo>
                    <a:cubicBezTo>
                      <a:pt x="195" y="330"/>
                      <a:pt x="195" y="326"/>
                      <a:pt x="194" y="327"/>
                    </a:cubicBezTo>
                    <a:cubicBezTo>
                      <a:pt x="193" y="327"/>
                      <a:pt x="160" y="348"/>
                      <a:pt x="158" y="350"/>
                    </a:cubicBezTo>
                    <a:cubicBezTo>
                      <a:pt x="150" y="361"/>
                      <a:pt x="187" y="344"/>
                      <a:pt x="176" y="360"/>
                    </a:cubicBezTo>
                    <a:cubicBezTo>
                      <a:pt x="174" y="363"/>
                      <a:pt x="151" y="364"/>
                      <a:pt x="143" y="366"/>
                    </a:cubicBezTo>
                    <a:cubicBezTo>
                      <a:pt x="128" y="368"/>
                      <a:pt x="115" y="378"/>
                      <a:pt x="115" y="377"/>
                    </a:cubicBezTo>
                    <a:cubicBezTo>
                      <a:pt x="112" y="374"/>
                      <a:pt x="120" y="368"/>
                      <a:pt x="117" y="366"/>
                    </a:cubicBezTo>
                    <a:cubicBezTo>
                      <a:pt x="114" y="363"/>
                      <a:pt x="108" y="366"/>
                      <a:pt x="104" y="367"/>
                    </a:cubicBezTo>
                    <a:cubicBezTo>
                      <a:pt x="103" y="367"/>
                      <a:pt x="104" y="368"/>
                      <a:pt x="103" y="368"/>
                    </a:cubicBezTo>
                    <a:cubicBezTo>
                      <a:pt x="102" y="368"/>
                      <a:pt x="100" y="366"/>
                      <a:pt x="101" y="367"/>
                    </a:cubicBezTo>
                    <a:cubicBezTo>
                      <a:pt x="103" y="370"/>
                      <a:pt x="108" y="371"/>
                      <a:pt x="108" y="375"/>
                    </a:cubicBezTo>
                    <a:cubicBezTo>
                      <a:pt x="106" y="381"/>
                      <a:pt x="99" y="384"/>
                      <a:pt x="94" y="386"/>
                    </a:cubicBezTo>
                    <a:cubicBezTo>
                      <a:pt x="82" y="391"/>
                      <a:pt x="79" y="378"/>
                      <a:pt x="76" y="378"/>
                    </a:cubicBezTo>
                    <a:cubicBezTo>
                      <a:pt x="69" y="376"/>
                      <a:pt x="65" y="387"/>
                      <a:pt x="60" y="388"/>
                    </a:cubicBezTo>
                    <a:cubicBezTo>
                      <a:pt x="57" y="388"/>
                      <a:pt x="48" y="388"/>
                      <a:pt x="45" y="392"/>
                    </a:cubicBezTo>
                    <a:cubicBezTo>
                      <a:pt x="42" y="396"/>
                      <a:pt x="41" y="402"/>
                      <a:pt x="38" y="406"/>
                    </a:cubicBezTo>
                    <a:cubicBezTo>
                      <a:pt x="36" y="407"/>
                      <a:pt x="33" y="406"/>
                      <a:pt x="32" y="408"/>
                    </a:cubicBezTo>
                    <a:cubicBezTo>
                      <a:pt x="31" y="410"/>
                      <a:pt x="33" y="413"/>
                      <a:pt x="33" y="414"/>
                    </a:cubicBezTo>
                    <a:cubicBezTo>
                      <a:pt x="32" y="417"/>
                      <a:pt x="32" y="421"/>
                      <a:pt x="30" y="423"/>
                    </a:cubicBezTo>
                    <a:cubicBezTo>
                      <a:pt x="27" y="426"/>
                      <a:pt x="21" y="423"/>
                      <a:pt x="21" y="430"/>
                    </a:cubicBezTo>
                    <a:cubicBezTo>
                      <a:pt x="21" y="439"/>
                      <a:pt x="26" y="443"/>
                      <a:pt x="26" y="450"/>
                    </a:cubicBezTo>
                    <a:cubicBezTo>
                      <a:pt x="26" y="452"/>
                      <a:pt x="19" y="465"/>
                      <a:pt x="27" y="466"/>
                    </a:cubicBezTo>
                    <a:cubicBezTo>
                      <a:pt x="29" y="466"/>
                      <a:pt x="64" y="449"/>
                      <a:pt x="68" y="448"/>
                    </a:cubicBezTo>
                    <a:cubicBezTo>
                      <a:pt x="69" y="448"/>
                      <a:pt x="71" y="447"/>
                      <a:pt x="70" y="448"/>
                    </a:cubicBezTo>
                    <a:cubicBezTo>
                      <a:pt x="69" y="454"/>
                      <a:pt x="64" y="466"/>
                      <a:pt x="60" y="471"/>
                    </a:cubicBezTo>
                    <a:cubicBezTo>
                      <a:pt x="59" y="473"/>
                      <a:pt x="54" y="471"/>
                      <a:pt x="57" y="473"/>
                    </a:cubicBezTo>
                    <a:cubicBezTo>
                      <a:pt x="61" y="476"/>
                      <a:pt x="74" y="476"/>
                      <a:pt x="76" y="484"/>
                    </a:cubicBezTo>
                    <a:cubicBezTo>
                      <a:pt x="76" y="487"/>
                      <a:pt x="70" y="491"/>
                      <a:pt x="72" y="494"/>
                    </a:cubicBezTo>
                    <a:cubicBezTo>
                      <a:pt x="74" y="495"/>
                      <a:pt x="91" y="489"/>
                      <a:pt x="89" y="496"/>
                    </a:cubicBezTo>
                    <a:cubicBezTo>
                      <a:pt x="86" y="505"/>
                      <a:pt x="69" y="512"/>
                      <a:pt x="72" y="517"/>
                    </a:cubicBezTo>
                    <a:cubicBezTo>
                      <a:pt x="76" y="522"/>
                      <a:pt x="85" y="530"/>
                      <a:pt x="86" y="529"/>
                    </a:cubicBezTo>
                    <a:cubicBezTo>
                      <a:pt x="89" y="527"/>
                      <a:pt x="91" y="526"/>
                      <a:pt x="94" y="525"/>
                    </a:cubicBezTo>
                    <a:cubicBezTo>
                      <a:pt x="96" y="525"/>
                      <a:pt x="101" y="523"/>
                      <a:pt x="101" y="525"/>
                    </a:cubicBezTo>
                    <a:cubicBezTo>
                      <a:pt x="100" y="526"/>
                      <a:pt x="83" y="537"/>
                      <a:pt x="81" y="537"/>
                    </a:cubicBezTo>
                    <a:cubicBezTo>
                      <a:pt x="78" y="538"/>
                      <a:pt x="77" y="531"/>
                      <a:pt x="74" y="533"/>
                    </a:cubicBezTo>
                    <a:cubicBezTo>
                      <a:pt x="72" y="535"/>
                      <a:pt x="78" y="543"/>
                      <a:pt x="76" y="542"/>
                    </a:cubicBezTo>
                    <a:cubicBezTo>
                      <a:pt x="74" y="542"/>
                      <a:pt x="65" y="521"/>
                      <a:pt x="61" y="519"/>
                    </a:cubicBezTo>
                    <a:cubicBezTo>
                      <a:pt x="60" y="518"/>
                      <a:pt x="56" y="517"/>
                      <a:pt x="55" y="520"/>
                    </a:cubicBezTo>
                    <a:cubicBezTo>
                      <a:pt x="53" y="523"/>
                      <a:pt x="56" y="527"/>
                      <a:pt x="56" y="531"/>
                    </a:cubicBezTo>
                    <a:cubicBezTo>
                      <a:pt x="56" y="533"/>
                      <a:pt x="55" y="535"/>
                      <a:pt x="56" y="535"/>
                    </a:cubicBezTo>
                    <a:cubicBezTo>
                      <a:pt x="59" y="537"/>
                      <a:pt x="65" y="534"/>
                      <a:pt x="64" y="536"/>
                    </a:cubicBezTo>
                    <a:cubicBezTo>
                      <a:pt x="63" y="540"/>
                      <a:pt x="58" y="543"/>
                      <a:pt x="54" y="545"/>
                    </a:cubicBezTo>
                    <a:cubicBezTo>
                      <a:pt x="53" y="545"/>
                      <a:pt x="52" y="542"/>
                      <a:pt x="51" y="543"/>
                    </a:cubicBezTo>
                    <a:cubicBezTo>
                      <a:pt x="51" y="544"/>
                      <a:pt x="53" y="545"/>
                      <a:pt x="53" y="546"/>
                    </a:cubicBezTo>
                    <a:cubicBezTo>
                      <a:pt x="53" y="548"/>
                      <a:pt x="48" y="550"/>
                      <a:pt x="50" y="551"/>
                    </a:cubicBezTo>
                    <a:cubicBezTo>
                      <a:pt x="53" y="553"/>
                      <a:pt x="58" y="551"/>
                      <a:pt x="62" y="552"/>
                    </a:cubicBezTo>
                    <a:cubicBezTo>
                      <a:pt x="63" y="552"/>
                      <a:pt x="72" y="559"/>
                      <a:pt x="73" y="558"/>
                    </a:cubicBezTo>
                    <a:cubicBezTo>
                      <a:pt x="77" y="555"/>
                      <a:pt x="77" y="550"/>
                      <a:pt x="81" y="547"/>
                    </a:cubicBezTo>
                    <a:cubicBezTo>
                      <a:pt x="86" y="545"/>
                      <a:pt x="85" y="557"/>
                      <a:pt x="90" y="559"/>
                    </a:cubicBezTo>
                    <a:cubicBezTo>
                      <a:pt x="92" y="560"/>
                      <a:pt x="94" y="555"/>
                      <a:pt x="96" y="555"/>
                    </a:cubicBezTo>
                    <a:cubicBezTo>
                      <a:pt x="99" y="555"/>
                      <a:pt x="114" y="560"/>
                      <a:pt x="114" y="560"/>
                    </a:cubicBezTo>
                    <a:cubicBezTo>
                      <a:pt x="115" y="561"/>
                      <a:pt x="118" y="574"/>
                      <a:pt x="116" y="577"/>
                    </a:cubicBezTo>
                    <a:cubicBezTo>
                      <a:pt x="112" y="581"/>
                      <a:pt x="99" y="583"/>
                      <a:pt x="103" y="585"/>
                    </a:cubicBezTo>
                    <a:cubicBezTo>
                      <a:pt x="108" y="586"/>
                      <a:pt x="113" y="585"/>
                      <a:pt x="117" y="587"/>
                    </a:cubicBezTo>
                    <a:cubicBezTo>
                      <a:pt x="121" y="590"/>
                      <a:pt x="113" y="603"/>
                      <a:pt x="119" y="604"/>
                    </a:cubicBezTo>
                    <a:cubicBezTo>
                      <a:pt x="124" y="604"/>
                      <a:pt x="126" y="596"/>
                      <a:pt x="131" y="596"/>
                    </a:cubicBezTo>
                    <a:cubicBezTo>
                      <a:pt x="135" y="596"/>
                      <a:pt x="137" y="603"/>
                      <a:pt x="141" y="605"/>
                    </a:cubicBezTo>
                    <a:cubicBezTo>
                      <a:pt x="142" y="606"/>
                      <a:pt x="145" y="603"/>
                      <a:pt x="145" y="604"/>
                    </a:cubicBezTo>
                    <a:cubicBezTo>
                      <a:pt x="153" y="632"/>
                      <a:pt x="104" y="603"/>
                      <a:pt x="126" y="626"/>
                    </a:cubicBezTo>
                    <a:cubicBezTo>
                      <a:pt x="129" y="629"/>
                      <a:pt x="133" y="624"/>
                      <a:pt x="137" y="624"/>
                    </a:cubicBezTo>
                    <a:cubicBezTo>
                      <a:pt x="142" y="624"/>
                      <a:pt x="140" y="630"/>
                      <a:pt x="146" y="626"/>
                    </a:cubicBezTo>
                    <a:cubicBezTo>
                      <a:pt x="147" y="626"/>
                      <a:pt x="145" y="624"/>
                      <a:pt x="146" y="624"/>
                    </a:cubicBezTo>
                    <a:cubicBezTo>
                      <a:pt x="150" y="622"/>
                      <a:pt x="154" y="624"/>
                      <a:pt x="158" y="623"/>
                    </a:cubicBezTo>
                    <a:cubicBezTo>
                      <a:pt x="163" y="620"/>
                      <a:pt x="173" y="615"/>
                      <a:pt x="176" y="614"/>
                    </a:cubicBezTo>
                    <a:cubicBezTo>
                      <a:pt x="181" y="612"/>
                      <a:pt x="187" y="607"/>
                      <a:pt x="190" y="611"/>
                    </a:cubicBezTo>
                    <a:cubicBezTo>
                      <a:pt x="201" y="624"/>
                      <a:pt x="173" y="619"/>
                      <a:pt x="173" y="624"/>
                    </a:cubicBezTo>
                    <a:cubicBezTo>
                      <a:pt x="173" y="627"/>
                      <a:pt x="179" y="630"/>
                      <a:pt x="177" y="633"/>
                    </a:cubicBezTo>
                    <a:cubicBezTo>
                      <a:pt x="173" y="636"/>
                      <a:pt x="168" y="633"/>
                      <a:pt x="163" y="634"/>
                    </a:cubicBezTo>
                    <a:cubicBezTo>
                      <a:pt x="154" y="636"/>
                      <a:pt x="146" y="643"/>
                      <a:pt x="139" y="649"/>
                    </a:cubicBezTo>
                    <a:cubicBezTo>
                      <a:pt x="136" y="651"/>
                      <a:pt x="146" y="647"/>
                      <a:pt x="150" y="647"/>
                    </a:cubicBezTo>
                    <a:cubicBezTo>
                      <a:pt x="152" y="647"/>
                      <a:pt x="155" y="649"/>
                      <a:pt x="157" y="648"/>
                    </a:cubicBezTo>
                    <a:cubicBezTo>
                      <a:pt x="159" y="646"/>
                      <a:pt x="156" y="642"/>
                      <a:pt x="159" y="640"/>
                    </a:cubicBezTo>
                    <a:cubicBezTo>
                      <a:pt x="162" y="638"/>
                      <a:pt x="167" y="639"/>
                      <a:pt x="171" y="638"/>
                    </a:cubicBezTo>
                    <a:cubicBezTo>
                      <a:pt x="182" y="635"/>
                      <a:pt x="181" y="629"/>
                      <a:pt x="181" y="630"/>
                    </a:cubicBezTo>
                    <a:cubicBezTo>
                      <a:pt x="189" y="647"/>
                      <a:pt x="181" y="642"/>
                      <a:pt x="176" y="647"/>
                    </a:cubicBezTo>
                    <a:cubicBezTo>
                      <a:pt x="175" y="648"/>
                      <a:pt x="179" y="650"/>
                      <a:pt x="180" y="649"/>
                    </a:cubicBezTo>
                    <a:cubicBezTo>
                      <a:pt x="181" y="647"/>
                      <a:pt x="198" y="628"/>
                      <a:pt x="198" y="628"/>
                    </a:cubicBezTo>
                    <a:cubicBezTo>
                      <a:pt x="199" y="625"/>
                      <a:pt x="198" y="620"/>
                      <a:pt x="200" y="619"/>
                    </a:cubicBezTo>
                    <a:cubicBezTo>
                      <a:pt x="215" y="612"/>
                      <a:pt x="208" y="627"/>
                      <a:pt x="212" y="630"/>
                    </a:cubicBezTo>
                    <a:cubicBezTo>
                      <a:pt x="215" y="633"/>
                      <a:pt x="221" y="632"/>
                      <a:pt x="225" y="633"/>
                    </a:cubicBezTo>
                    <a:cubicBezTo>
                      <a:pt x="226" y="633"/>
                      <a:pt x="226" y="636"/>
                      <a:pt x="227" y="636"/>
                    </a:cubicBezTo>
                    <a:cubicBezTo>
                      <a:pt x="232" y="630"/>
                      <a:pt x="221" y="623"/>
                      <a:pt x="229" y="622"/>
                    </a:cubicBezTo>
                    <a:cubicBezTo>
                      <a:pt x="245" y="619"/>
                      <a:pt x="244" y="645"/>
                      <a:pt x="245" y="646"/>
                    </a:cubicBezTo>
                    <a:cubicBezTo>
                      <a:pt x="257" y="654"/>
                      <a:pt x="266" y="650"/>
                      <a:pt x="279" y="651"/>
                    </a:cubicBezTo>
                    <a:cubicBezTo>
                      <a:pt x="280" y="651"/>
                      <a:pt x="281" y="656"/>
                      <a:pt x="284" y="655"/>
                    </a:cubicBezTo>
                    <a:cubicBezTo>
                      <a:pt x="289" y="655"/>
                      <a:pt x="307" y="637"/>
                      <a:pt x="309" y="636"/>
                    </a:cubicBezTo>
                    <a:cubicBezTo>
                      <a:pt x="311" y="633"/>
                      <a:pt x="320" y="632"/>
                      <a:pt x="323" y="633"/>
                    </a:cubicBezTo>
                    <a:cubicBezTo>
                      <a:pt x="324" y="634"/>
                      <a:pt x="323" y="639"/>
                      <a:pt x="324" y="638"/>
                    </a:cubicBezTo>
                    <a:cubicBezTo>
                      <a:pt x="327" y="635"/>
                      <a:pt x="329" y="630"/>
                      <a:pt x="329" y="626"/>
                    </a:cubicBezTo>
                    <a:cubicBezTo>
                      <a:pt x="329" y="624"/>
                      <a:pt x="325" y="624"/>
                      <a:pt x="325" y="623"/>
                    </a:cubicBezTo>
                    <a:cubicBezTo>
                      <a:pt x="324" y="619"/>
                      <a:pt x="327" y="616"/>
                      <a:pt x="328" y="612"/>
                    </a:cubicBezTo>
                    <a:cubicBezTo>
                      <a:pt x="331" y="606"/>
                      <a:pt x="319" y="596"/>
                      <a:pt x="326" y="588"/>
                    </a:cubicBezTo>
                    <a:cubicBezTo>
                      <a:pt x="328" y="585"/>
                      <a:pt x="355" y="580"/>
                      <a:pt x="360" y="580"/>
                    </a:cubicBezTo>
                    <a:cubicBezTo>
                      <a:pt x="361" y="580"/>
                      <a:pt x="410" y="585"/>
                      <a:pt x="412" y="585"/>
                    </a:cubicBezTo>
                    <a:cubicBezTo>
                      <a:pt x="434" y="591"/>
                      <a:pt x="430" y="608"/>
                      <a:pt x="459" y="610"/>
                    </a:cubicBezTo>
                    <a:cubicBezTo>
                      <a:pt x="474" y="611"/>
                      <a:pt x="461" y="607"/>
                      <a:pt x="473" y="600"/>
                    </a:cubicBezTo>
                    <a:cubicBezTo>
                      <a:pt x="476" y="599"/>
                      <a:pt x="480" y="602"/>
                      <a:pt x="483" y="600"/>
                    </a:cubicBezTo>
                    <a:cubicBezTo>
                      <a:pt x="485" y="599"/>
                      <a:pt x="483" y="595"/>
                      <a:pt x="484" y="594"/>
                    </a:cubicBezTo>
                    <a:cubicBezTo>
                      <a:pt x="488" y="591"/>
                      <a:pt x="506" y="589"/>
                      <a:pt x="508" y="588"/>
                    </a:cubicBezTo>
                    <a:cubicBezTo>
                      <a:pt x="510" y="586"/>
                      <a:pt x="511" y="582"/>
                      <a:pt x="513" y="581"/>
                    </a:cubicBezTo>
                    <a:cubicBezTo>
                      <a:pt x="515" y="580"/>
                      <a:pt x="515" y="584"/>
                      <a:pt x="516" y="583"/>
                    </a:cubicBezTo>
                    <a:cubicBezTo>
                      <a:pt x="517" y="583"/>
                      <a:pt x="523" y="566"/>
                      <a:pt x="524" y="567"/>
                    </a:cubicBezTo>
                    <a:cubicBezTo>
                      <a:pt x="526" y="567"/>
                      <a:pt x="528" y="573"/>
                      <a:pt x="530" y="572"/>
                    </a:cubicBezTo>
                    <a:cubicBezTo>
                      <a:pt x="542" y="569"/>
                      <a:pt x="533" y="562"/>
                      <a:pt x="533" y="557"/>
                    </a:cubicBezTo>
                    <a:cubicBezTo>
                      <a:pt x="535" y="546"/>
                      <a:pt x="547" y="530"/>
                      <a:pt x="553" y="522"/>
                    </a:cubicBezTo>
                    <a:cubicBezTo>
                      <a:pt x="564" y="507"/>
                      <a:pt x="598" y="526"/>
                      <a:pt x="602" y="523"/>
                    </a:cubicBezTo>
                    <a:cubicBezTo>
                      <a:pt x="605" y="520"/>
                      <a:pt x="606" y="516"/>
                      <a:pt x="610" y="513"/>
                    </a:cubicBezTo>
                    <a:cubicBezTo>
                      <a:pt x="611" y="512"/>
                      <a:pt x="627" y="516"/>
                      <a:pt x="619" y="503"/>
                    </a:cubicBezTo>
                    <a:cubicBezTo>
                      <a:pt x="618" y="501"/>
                      <a:pt x="614" y="511"/>
                      <a:pt x="614" y="509"/>
                    </a:cubicBezTo>
                    <a:cubicBezTo>
                      <a:pt x="615" y="506"/>
                      <a:pt x="621" y="504"/>
                      <a:pt x="619" y="502"/>
                    </a:cubicBezTo>
                    <a:cubicBezTo>
                      <a:pt x="618" y="500"/>
                      <a:pt x="615" y="505"/>
                      <a:pt x="612" y="505"/>
                    </a:cubicBezTo>
                    <a:cubicBezTo>
                      <a:pt x="610" y="504"/>
                      <a:pt x="614" y="502"/>
                      <a:pt x="615" y="501"/>
                    </a:cubicBezTo>
                    <a:cubicBezTo>
                      <a:pt x="618" y="499"/>
                      <a:pt x="622" y="497"/>
                      <a:pt x="624" y="495"/>
                    </a:cubicBezTo>
                    <a:cubicBezTo>
                      <a:pt x="627" y="491"/>
                      <a:pt x="626" y="482"/>
                      <a:pt x="632" y="480"/>
                    </a:cubicBezTo>
                    <a:cubicBezTo>
                      <a:pt x="640" y="478"/>
                      <a:pt x="648" y="490"/>
                      <a:pt x="649" y="496"/>
                    </a:cubicBezTo>
                    <a:cubicBezTo>
                      <a:pt x="650" y="499"/>
                      <a:pt x="631" y="525"/>
                      <a:pt x="632" y="529"/>
                    </a:cubicBezTo>
                    <a:cubicBezTo>
                      <a:pt x="636" y="536"/>
                      <a:pt x="649" y="538"/>
                      <a:pt x="650" y="547"/>
                    </a:cubicBezTo>
                    <a:cubicBezTo>
                      <a:pt x="651" y="548"/>
                      <a:pt x="650" y="551"/>
                      <a:pt x="648" y="553"/>
                    </a:cubicBezTo>
                    <a:cubicBezTo>
                      <a:pt x="652" y="551"/>
                      <a:pt x="663" y="559"/>
                      <a:pt x="665" y="556"/>
                    </a:cubicBezTo>
                    <a:cubicBezTo>
                      <a:pt x="668" y="553"/>
                      <a:pt x="663" y="548"/>
                      <a:pt x="665" y="544"/>
                    </a:cubicBezTo>
                    <a:cubicBezTo>
                      <a:pt x="666" y="541"/>
                      <a:pt x="671" y="540"/>
                      <a:pt x="672" y="538"/>
                    </a:cubicBezTo>
                    <a:cubicBezTo>
                      <a:pt x="668" y="523"/>
                      <a:pt x="668" y="523"/>
                      <a:pt x="668" y="523"/>
                    </a:cubicBezTo>
                    <a:cubicBezTo>
                      <a:pt x="668" y="522"/>
                      <a:pt x="685" y="516"/>
                      <a:pt x="686" y="515"/>
                    </a:cubicBezTo>
                    <a:cubicBezTo>
                      <a:pt x="687" y="513"/>
                      <a:pt x="677" y="507"/>
                      <a:pt x="676" y="506"/>
                    </a:cubicBezTo>
                    <a:cubicBezTo>
                      <a:pt x="671" y="500"/>
                      <a:pt x="667" y="480"/>
                      <a:pt x="670" y="474"/>
                    </a:cubicBezTo>
                    <a:cubicBezTo>
                      <a:pt x="671" y="472"/>
                      <a:pt x="692" y="471"/>
                      <a:pt x="695" y="474"/>
                    </a:cubicBezTo>
                    <a:cubicBezTo>
                      <a:pt x="695" y="474"/>
                      <a:pt x="692" y="484"/>
                      <a:pt x="698" y="480"/>
                    </a:cubicBezTo>
                    <a:cubicBezTo>
                      <a:pt x="700" y="479"/>
                      <a:pt x="699" y="476"/>
                      <a:pt x="700" y="475"/>
                    </a:cubicBezTo>
                    <a:cubicBezTo>
                      <a:pt x="706" y="472"/>
                      <a:pt x="713" y="474"/>
                      <a:pt x="719" y="470"/>
                    </a:cubicBezTo>
                    <a:cubicBezTo>
                      <a:pt x="735" y="462"/>
                      <a:pt x="744" y="432"/>
                      <a:pt x="765" y="431"/>
                    </a:cubicBezTo>
                    <a:cubicBezTo>
                      <a:pt x="773" y="430"/>
                      <a:pt x="781" y="437"/>
                      <a:pt x="789" y="437"/>
                    </a:cubicBezTo>
                    <a:cubicBezTo>
                      <a:pt x="805" y="437"/>
                      <a:pt x="824" y="423"/>
                      <a:pt x="838" y="414"/>
                    </a:cubicBezTo>
                    <a:cubicBezTo>
                      <a:pt x="860" y="400"/>
                      <a:pt x="870" y="374"/>
                      <a:pt x="891" y="359"/>
                    </a:cubicBezTo>
                    <a:cubicBezTo>
                      <a:pt x="904" y="350"/>
                      <a:pt x="923" y="348"/>
                      <a:pt x="936" y="339"/>
                    </a:cubicBezTo>
                    <a:cubicBezTo>
                      <a:pt x="942" y="335"/>
                      <a:pt x="954" y="328"/>
                      <a:pt x="958" y="321"/>
                    </a:cubicBezTo>
                    <a:cubicBezTo>
                      <a:pt x="960" y="317"/>
                      <a:pt x="962" y="302"/>
                      <a:pt x="972" y="312"/>
                    </a:cubicBezTo>
                    <a:cubicBezTo>
                      <a:pt x="975" y="314"/>
                      <a:pt x="976" y="316"/>
                      <a:pt x="977" y="319"/>
                    </a:cubicBezTo>
                    <a:close/>
                    <a:moveTo>
                      <a:pt x="92" y="258"/>
                    </a:moveTo>
                    <a:cubicBezTo>
                      <a:pt x="91" y="258"/>
                      <a:pt x="91" y="258"/>
                      <a:pt x="91" y="258"/>
                    </a:cubicBezTo>
                    <a:cubicBezTo>
                      <a:pt x="88" y="259"/>
                      <a:pt x="85" y="258"/>
                      <a:pt x="81" y="259"/>
                    </a:cubicBezTo>
                    <a:cubicBezTo>
                      <a:pt x="77" y="261"/>
                      <a:pt x="73" y="265"/>
                      <a:pt x="69" y="268"/>
                    </a:cubicBezTo>
                    <a:cubicBezTo>
                      <a:pt x="68" y="268"/>
                      <a:pt x="69" y="271"/>
                      <a:pt x="69" y="270"/>
                    </a:cubicBezTo>
                    <a:cubicBezTo>
                      <a:pt x="56" y="267"/>
                      <a:pt x="52" y="257"/>
                      <a:pt x="39" y="264"/>
                    </a:cubicBezTo>
                    <a:cubicBezTo>
                      <a:pt x="29" y="275"/>
                      <a:pt x="29" y="275"/>
                      <a:pt x="29" y="275"/>
                    </a:cubicBezTo>
                    <a:cubicBezTo>
                      <a:pt x="25" y="276"/>
                      <a:pt x="20" y="273"/>
                      <a:pt x="17" y="276"/>
                    </a:cubicBezTo>
                    <a:cubicBezTo>
                      <a:pt x="14" y="279"/>
                      <a:pt x="17" y="285"/>
                      <a:pt x="15" y="288"/>
                    </a:cubicBezTo>
                    <a:cubicBezTo>
                      <a:pt x="12" y="292"/>
                      <a:pt x="0" y="290"/>
                      <a:pt x="5" y="299"/>
                    </a:cubicBezTo>
                    <a:cubicBezTo>
                      <a:pt x="18" y="302"/>
                      <a:pt x="35" y="314"/>
                      <a:pt x="26" y="324"/>
                    </a:cubicBezTo>
                    <a:cubicBezTo>
                      <a:pt x="20" y="331"/>
                      <a:pt x="14" y="327"/>
                      <a:pt x="12" y="338"/>
                    </a:cubicBezTo>
                    <a:cubicBezTo>
                      <a:pt x="16" y="355"/>
                      <a:pt x="16" y="355"/>
                      <a:pt x="16" y="355"/>
                    </a:cubicBezTo>
                    <a:cubicBezTo>
                      <a:pt x="16" y="359"/>
                      <a:pt x="8" y="372"/>
                      <a:pt x="4" y="374"/>
                    </a:cubicBezTo>
                    <a:cubicBezTo>
                      <a:pt x="3" y="380"/>
                      <a:pt x="3" y="380"/>
                      <a:pt x="3" y="380"/>
                    </a:cubicBezTo>
                    <a:cubicBezTo>
                      <a:pt x="4" y="381"/>
                      <a:pt x="6" y="382"/>
                      <a:pt x="9" y="383"/>
                    </a:cubicBezTo>
                    <a:cubicBezTo>
                      <a:pt x="18" y="386"/>
                      <a:pt x="51" y="363"/>
                      <a:pt x="49" y="374"/>
                    </a:cubicBezTo>
                    <a:cubicBezTo>
                      <a:pt x="48" y="382"/>
                      <a:pt x="20" y="393"/>
                      <a:pt x="19" y="402"/>
                    </a:cubicBezTo>
                    <a:cubicBezTo>
                      <a:pt x="19" y="404"/>
                      <a:pt x="22" y="405"/>
                      <a:pt x="23" y="406"/>
                    </a:cubicBezTo>
                    <a:cubicBezTo>
                      <a:pt x="23" y="408"/>
                      <a:pt x="23" y="410"/>
                      <a:pt x="23" y="411"/>
                    </a:cubicBezTo>
                    <a:cubicBezTo>
                      <a:pt x="22" y="415"/>
                      <a:pt x="18" y="424"/>
                      <a:pt x="21" y="422"/>
                    </a:cubicBezTo>
                    <a:cubicBezTo>
                      <a:pt x="32" y="413"/>
                      <a:pt x="34" y="398"/>
                      <a:pt x="43" y="387"/>
                    </a:cubicBezTo>
                    <a:cubicBezTo>
                      <a:pt x="51" y="375"/>
                      <a:pt x="66" y="373"/>
                      <a:pt x="73" y="361"/>
                    </a:cubicBezTo>
                    <a:cubicBezTo>
                      <a:pt x="76" y="357"/>
                      <a:pt x="78" y="352"/>
                      <a:pt x="79" y="348"/>
                    </a:cubicBezTo>
                    <a:cubicBezTo>
                      <a:pt x="80" y="344"/>
                      <a:pt x="78" y="340"/>
                      <a:pt x="80" y="337"/>
                    </a:cubicBezTo>
                    <a:cubicBezTo>
                      <a:pt x="90" y="325"/>
                      <a:pt x="94" y="336"/>
                      <a:pt x="105" y="332"/>
                    </a:cubicBezTo>
                    <a:cubicBezTo>
                      <a:pt x="107" y="332"/>
                      <a:pt x="106" y="328"/>
                      <a:pt x="107" y="327"/>
                    </a:cubicBezTo>
                    <a:cubicBezTo>
                      <a:pt x="111" y="324"/>
                      <a:pt x="114" y="321"/>
                      <a:pt x="119" y="320"/>
                    </a:cubicBezTo>
                    <a:cubicBezTo>
                      <a:pt x="132" y="316"/>
                      <a:pt x="138" y="330"/>
                      <a:pt x="135" y="316"/>
                    </a:cubicBezTo>
                    <a:cubicBezTo>
                      <a:pt x="134" y="313"/>
                      <a:pt x="137" y="324"/>
                      <a:pt x="140" y="323"/>
                    </a:cubicBezTo>
                    <a:cubicBezTo>
                      <a:pt x="145" y="323"/>
                      <a:pt x="159" y="320"/>
                      <a:pt x="160" y="315"/>
                    </a:cubicBezTo>
                    <a:cubicBezTo>
                      <a:pt x="162" y="312"/>
                      <a:pt x="160" y="308"/>
                      <a:pt x="161" y="304"/>
                    </a:cubicBezTo>
                    <a:cubicBezTo>
                      <a:pt x="161" y="302"/>
                      <a:pt x="165" y="298"/>
                      <a:pt x="163" y="297"/>
                    </a:cubicBezTo>
                    <a:cubicBezTo>
                      <a:pt x="151" y="293"/>
                      <a:pt x="124" y="297"/>
                      <a:pt x="109" y="288"/>
                    </a:cubicBezTo>
                    <a:cubicBezTo>
                      <a:pt x="87" y="275"/>
                      <a:pt x="96" y="267"/>
                      <a:pt x="92" y="25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2" name="Freeform 10"/>
              <p:cNvSpPr>
                <a:spLocks noEditPoints="1"/>
              </p:cNvSpPr>
              <p:nvPr/>
            </p:nvSpPr>
            <p:spPr bwMode="auto">
              <a:xfrm>
                <a:off x="8125777" y="5020858"/>
                <a:ext cx="377647" cy="235747"/>
              </a:xfrm>
              <a:custGeom>
                <a:avLst/>
                <a:gdLst>
                  <a:gd name="T0" fmla="*/ 116 w 226"/>
                  <a:gd name="T1" fmla="*/ 30 h 131"/>
                  <a:gd name="T2" fmla="*/ 80 w 226"/>
                  <a:gd name="T3" fmla="*/ 104 h 131"/>
                  <a:gd name="T4" fmla="*/ 81 w 226"/>
                  <a:gd name="T5" fmla="*/ 104 h 131"/>
                  <a:gd name="T6" fmla="*/ 82 w 226"/>
                  <a:gd name="T7" fmla="*/ 104 h 131"/>
                  <a:gd name="T8" fmla="*/ 86 w 226"/>
                  <a:gd name="T9" fmla="*/ 104 h 131"/>
                  <a:gd name="T10" fmla="*/ 88 w 226"/>
                  <a:gd name="T11" fmla="*/ 105 h 131"/>
                  <a:gd name="T12" fmla="*/ 89 w 226"/>
                  <a:gd name="T13" fmla="*/ 105 h 131"/>
                  <a:gd name="T14" fmla="*/ 90 w 226"/>
                  <a:gd name="T15" fmla="*/ 105 h 131"/>
                  <a:gd name="T16" fmla="*/ 91 w 226"/>
                  <a:gd name="T17" fmla="*/ 105 h 131"/>
                  <a:gd name="T18" fmla="*/ 92 w 226"/>
                  <a:gd name="T19" fmla="*/ 106 h 131"/>
                  <a:gd name="T20" fmla="*/ 93 w 226"/>
                  <a:gd name="T21" fmla="*/ 107 h 131"/>
                  <a:gd name="T22" fmla="*/ 94 w 226"/>
                  <a:gd name="T23" fmla="*/ 107 h 131"/>
                  <a:gd name="T24" fmla="*/ 95 w 226"/>
                  <a:gd name="T25" fmla="*/ 107 h 131"/>
                  <a:gd name="T26" fmla="*/ 96 w 226"/>
                  <a:gd name="T27" fmla="*/ 108 h 131"/>
                  <a:gd name="T28" fmla="*/ 97 w 226"/>
                  <a:gd name="T29" fmla="*/ 108 h 131"/>
                  <a:gd name="T30" fmla="*/ 98 w 226"/>
                  <a:gd name="T31" fmla="*/ 108 h 131"/>
                  <a:gd name="T32" fmla="*/ 99 w 226"/>
                  <a:gd name="T33" fmla="*/ 109 h 131"/>
                  <a:gd name="T34" fmla="*/ 106 w 226"/>
                  <a:gd name="T35" fmla="*/ 112 h 131"/>
                  <a:gd name="T36" fmla="*/ 107 w 226"/>
                  <a:gd name="T37" fmla="*/ 112 h 131"/>
                  <a:gd name="T38" fmla="*/ 120 w 226"/>
                  <a:gd name="T39" fmla="*/ 101 h 131"/>
                  <a:gd name="T40" fmla="*/ 137 w 226"/>
                  <a:gd name="T41" fmla="*/ 106 h 131"/>
                  <a:gd name="T42" fmla="*/ 161 w 226"/>
                  <a:gd name="T43" fmla="*/ 96 h 131"/>
                  <a:gd name="T44" fmla="*/ 184 w 226"/>
                  <a:gd name="T45" fmla="*/ 109 h 131"/>
                  <a:gd name="T46" fmla="*/ 186 w 226"/>
                  <a:gd name="T47" fmla="*/ 116 h 131"/>
                  <a:gd name="T48" fmla="*/ 214 w 226"/>
                  <a:gd name="T49" fmla="*/ 124 h 131"/>
                  <a:gd name="T50" fmla="*/ 226 w 226"/>
                  <a:gd name="T51" fmla="*/ 116 h 131"/>
                  <a:gd name="T52" fmla="*/ 224 w 226"/>
                  <a:gd name="T53" fmla="*/ 120 h 131"/>
                  <a:gd name="T54" fmla="*/ 208 w 226"/>
                  <a:gd name="T55" fmla="*/ 103 h 131"/>
                  <a:gd name="T56" fmla="*/ 218 w 226"/>
                  <a:gd name="T57" fmla="*/ 96 h 131"/>
                  <a:gd name="T58" fmla="*/ 204 w 226"/>
                  <a:gd name="T59" fmla="*/ 75 h 131"/>
                  <a:gd name="T60" fmla="*/ 153 w 226"/>
                  <a:gd name="T61" fmla="*/ 70 h 131"/>
                  <a:gd name="T62" fmla="*/ 142 w 226"/>
                  <a:gd name="T63" fmla="*/ 69 h 131"/>
                  <a:gd name="T64" fmla="*/ 154 w 226"/>
                  <a:gd name="T65" fmla="*/ 45 h 131"/>
                  <a:gd name="T66" fmla="*/ 115 w 226"/>
                  <a:gd name="T67" fmla="*/ 13 h 131"/>
                  <a:gd name="T68" fmla="*/ 102 w 226"/>
                  <a:gd name="T69" fmla="*/ 6 h 131"/>
                  <a:gd name="T70" fmla="*/ 81 w 226"/>
                  <a:gd name="T71" fmla="*/ 2 h 131"/>
                  <a:gd name="T72" fmla="*/ 72 w 226"/>
                  <a:gd name="T73" fmla="*/ 0 h 131"/>
                  <a:gd name="T74" fmla="*/ 63 w 226"/>
                  <a:gd name="T75" fmla="*/ 6 h 131"/>
                  <a:gd name="T76" fmla="*/ 33 w 226"/>
                  <a:gd name="T77" fmla="*/ 25 h 131"/>
                  <a:gd name="T78" fmla="*/ 0 w 226"/>
                  <a:gd name="T79" fmla="*/ 52 h 131"/>
                  <a:gd name="T80" fmla="*/ 2 w 226"/>
                  <a:gd name="T81" fmla="*/ 56 h 131"/>
                  <a:gd name="T82" fmla="*/ 30 w 226"/>
                  <a:gd name="T83" fmla="*/ 101 h 131"/>
                  <a:gd name="T84" fmla="*/ 39 w 226"/>
                  <a:gd name="T85" fmla="*/ 115 h 131"/>
                  <a:gd name="T86" fmla="*/ 79 w 226"/>
                  <a:gd name="T87" fmla="*/ 13 h 131"/>
                  <a:gd name="T88" fmla="*/ 79 w 226"/>
                  <a:gd name="T89" fmla="*/ 1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" h="131">
                    <a:moveTo>
                      <a:pt x="118" y="27"/>
                    </a:moveTo>
                    <a:cubicBezTo>
                      <a:pt x="125" y="28"/>
                      <a:pt x="115" y="35"/>
                      <a:pt x="116" y="30"/>
                    </a:cubicBezTo>
                    <a:cubicBezTo>
                      <a:pt x="116" y="29"/>
                      <a:pt x="117" y="28"/>
                      <a:pt x="118" y="27"/>
                    </a:cubicBezTo>
                    <a:moveTo>
                      <a:pt x="80" y="104"/>
                    </a:moveTo>
                    <a:cubicBezTo>
                      <a:pt x="80" y="104"/>
                      <a:pt x="80" y="104"/>
                      <a:pt x="80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1" y="104"/>
                    </a:cubicBezTo>
                    <a:cubicBezTo>
                      <a:pt x="81" y="104"/>
                      <a:pt x="81" y="104"/>
                      <a:pt x="82" y="104"/>
                    </a:cubicBezTo>
                    <a:cubicBezTo>
                      <a:pt x="82" y="104"/>
                      <a:pt x="82" y="104"/>
                      <a:pt x="82" y="104"/>
                    </a:cubicBezTo>
                    <a:cubicBezTo>
                      <a:pt x="84" y="104"/>
                      <a:pt x="85" y="104"/>
                      <a:pt x="86" y="104"/>
                    </a:cubicBezTo>
                    <a:cubicBezTo>
                      <a:pt x="86" y="104"/>
                      <a:pt x="86" y="104"/>
                      <a:pt x="87" y="104"/>
                    </a:cubicBezTo>
                    <a:cubicBezTo>
                      <a:pt x="87" y="104"/>
                      <a:pt x="88" y="104"/>
                      <a:pt x="88" y="105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89" y="105"/>
                      <a:pt x="89" y="105"/>
                    </a:cubicBezTo>
                    <a:cubicBezTo>
                      <a:pt x="89" y="105"/>
                      <a:pt x="90" y="105"/>
                      <a:pt x="90" y="105"/>
                    </a:cubicBezTo>
                    <a:cubicBezTo>
                      <a:pt x="90" y="105"/>
                      <a:pt x="90" y="105"/>
                      <a:pt x="90" y="105"/>
                    </a:cubicBezTo>
                    <a:cubicBezTo>
                      <a:pt x="91" y="105"/>
                      <a:pt x="91" y="105"/>
                      <a:pt x="91" y="105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6"/>
                      <a:pt x="92" y="106"/>
                      <a:pt x="93" y="106"/>
                    </a:cubicBezTo>
                    <a:cubicBezTo>
                      <a:pt x="93" y="106"/>
                      <a:pt x="93" y="106"/>
                      <a:pt x="93" y="107"/>
                    </a:cubicBezTo>
                    <a:cubicBezTo>
                      <a:pt x="93" y="107"/>
                      <a:pt x="93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5" y="107"/>
                      <a:pt x="96" y="107"/>
                      <a:pt x="96" y="108"/>
                    </a:cubicBezTo>
                    <a:cubicBezTo>
                      <a:pt x="96" y="108"/>
                      <a:pt x="96" y="108"/>
                      <a:pt x="97" y="108"/>
                    </a:cubicBezTo>
                    <a:cubicBezTo>
                      <a:pt x="97" y="108"/>
                      <a:pt x="97" y="108"/>
                      <a:pt x="97" y="108"/>
                    </a:cubicBezTo>
                    <a:cubicBezTo>
                      <a:pt x="97" y="108"/>
                      <a:pt x="98" y="108"/>
                      <a:pt x="98" y="108"/>
                    </a:cubicBezTo>
                    <a:cubicBezTo>
                      <a:pt x="98" y="108"/>
                      <a:pt x="98" y="108"/>
                      <a:pt x="98" y="108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102" y="110"/>
                      <a:pt x="103" y="111"/>
                      <a:pt x="105" y="111"/>
                    </a:cubicBezTo>
                    <a:cubicBezTo>
                      <a:pt x="106" y="112"/>
                      <a:pt x="106" y="112"/>
                      <a:pt x="106" y="112"/>
                    </a:cubicBezTo>
                    <a:cubicBezTo>
                      <a:pt x="106" y="112"/>
                      <a:pt x="107" y="112"/>
                      <a:pt x="107" y="112"/>
                    </a:cubicBezTo>
                    <a:cubicBezTo>
                      <a:pt x="107" y="112"/>
                      <a:pt x="107" y="112"/>
                      <a:pt x="107" y="112"/>
                    </a:cubicBezTo>
                    <a:cubicBezTo>
                      <a:pt x="108" y="113"/>
                      <a:pt x="109" y="113"/>
                      <a:pt x="110" y="113"/>
                    </a:cubicBezTo>
                    <a:cubicBezTo>
                      <a:pt x="113" y="109"/>
                      <a:pt x="115" y="102"/>
                      <a:pt x="120" y="101"/>
                    </a:cubicBezTo>
                    <a:cubicBezTo>
                      <a:pt x="135" y="97"/>
                      <a:pt x="129" y="118"/>
                      <a:pt x="135" y="111"/>
                    </a:cubicBezTo>
                    <a:cubicBezTo>
                      <a:pt x="136" y="110"/>
                      <a:pt x="135" y="107"/>
                      <a:pt x="137" y="106"/>
                    </a:cubicBezTo>
                    <a:cubicBezTo>
                      <a:pt x="141" y="105"/>
                      <a:pt x="145" y="110"/>
                      <a:pt x="150" y="109"/>
                    </a:cubicBezTo>
                    <a:cubicBezTo>
                      <a:pt x="161" y="96"/>
                      <a:pt x="161" y="96"/>
                      <a:pt x="161" y="96"/>
                    </a:cubicBezTo>
                    <a:cubicBezTo>
                      <a:pt x="172" y="90"/>
                      <a:pt x="170" y="109"/>
                      <a:pt x="171" y="109"/>
                    </a:cubicBezTo>
                    <a:cubicBezTo>
                      <a:pt x="175" y="109"/>
                      <a:pt x="179" y="108"/>
                      <a:pt x="184" y="109"/>
                    </a:cubicBezTo>
                    <a:cubicBezTo>
                      <a:pt x="184" y="109"/>
                      <a:pt x="186" y="109"/>
                      <a:pt x="186" y="110"/>
                    </a:cubicBezTo>
                    <a:cubicBezTo>
                      <a:pt x="187" y="112"/>
                      <a:pt x="185" y="114"/>
                      <a:pt x="186" y="116"/>
                    </a:cubicBezTo>
                    <a:cubicBezTo>
                      <a:pt x="186" y="116"/>
                      <a:pt x="201" y="128"/>
                      <a:pt x="206" y="131"/>
                    </a:cubicBezTo>
                    <a:cubicBezTo>
                      <a:pt x="207" y="130"/>
                      <a:pt x="209" y="127"/>
                      <a:pt x="214" y="124"/>
                    </a:cubicBezTo>
                    <a:cubicBezTo>
                      <a:pt x="217" y="121"/>
                      <a:pt x="222" y="124"/>
                      <a:pt x="224" y="121"/>
                    </a:cubicBezTo>
                    <a:cubicBezTo>
                      <a:pt x="224" y="121"/>
                      <a:pt x="225" y="119"/>
                      <a:pt x="226" y="116"/>
                    </a:cubicBezTo>
                    <a:cubicBezTo>
                      <a:pt x="225" y="118"/>
                      <a:pt x="225" y="120"/>
                      <a:pt x="224" y="121"/>
                    </a:cubicBezTo>
                    <a:cubicBezTo>
                      <a:pt x="224" y="120"/>
                      <a:pt x="224" y="120"/>
                      <a:pt x="224" y="120"/>
                    </a:cubicBezTo>
                    <a:cubicBezTo>
                      <a:pt x="219" y="116"/>
                      <a:pt x="220" y="108"/>
                      <a:pt x="215" y="105"/>
                    </a:cubicBezTo>
                    <a:cubicBezTo>
                      <a:pt x="213" y="104"/>
                      <a:pt x="208" y="107"/>
                      <a:pt x="208" y="103"/>
                    </a:cubicBezTo>
                    <a:cubicBezTo>
                      <a:pt x="208" y="101"/>
                      <a:pt x="209" y="101"/>
                      <a:pt x="209" y="100"/>
                    </a:cubicBezTo>
                    <a:cubicBezTo>
                      <a:pt x="211" y="99"/>
                      <a:pt x="218" y="99"/>
                      <a:pt x="218" y="96"/>
                    </a:cubicBezTo>
                    <a:cubicBezTo>
                      <a:pt x="217" y="84"/>
                      <a:pt x="199" y="96"/>
                      <a:pt x="199" y="87"/>
                    </a:cubicBezTo>
                    <a:cubicBezTo>
                      <a:pt x="198" y="81"/>
                      <a:pt x="207" y="83"/>
                      <a:pt x="204" y="75"/>
                    </a:cubicBezTo>
                    <a:cubicBezTo>
                      <a:pt x="201" y="70"/>
                      <a:pt x="188" y="81"/>
                      <a:pt x="185" y="81"/>
                    </a:cubicBezTo>
                    <a:cubicBezTo>
                      <a:pt x="175" y="82"/>
                      <a:pt x="163" y="71"/>
                      <a:pt x="153" y="70"/>
                    </a:cubicBezTo>
                    <a:cubicBezTo>
                      <a:pt x="149" y="70"/>
                      <a:pt x="146" y="73"/>
                      <a:pt x="142" y="72"/>
                    </a:cubicBezTo>
                    <a:cubicBezTo>
                      <a:pt x="141" y="72"/>
                      <a:pt x="142" y="70"/>
                      <a:pt x="142" y="69"/>
                    </a:cubicBezTo>
                    <a:cubicBezTo>
                      <a:pt x="146" y="66"/>
                      <a:pt x="152" y="65"/>
                      <a:pt x="155" y="62"/>
                    </a:cubicBezTo>
                    <a:cubicBezTo>
                      <a:pt x="157" y="61"/>
                      <a:pt x="155" y="47"/>
                      <a:pt x="154" y="45"/>
                    </a:cubicBezTo>
                    <a:cubicBezTo>
                      <a:pt x="153" y="43"/>
                      <a:pt x="119" y="45"/>
                      <a:pt x="110" y="33"/>
                    </a:cubicBezTo>
                    <a:cubicBezTo>
                      <a:pt x="105" y="26"/>
                      <a:pt x="123" y="17"/>
                      <a:pt x="115" y="13"/>
                    </a:cubicBezTo>
                    <a:cubicBezTo>
                      <a:pt x="111" y="11"/>
                      <a:pt x="107" y="13"/>
                      <a:pt x="103" y="11"/>
                    </a:cubicBezTo>
                    <a:cubicBezTo>
                      <a:pt x="102" y="11"/>
                      <a:pt x="103" y="6"/>
                      <a:pt x="102" y="6"/>
                    </a:cubicBezTo>
                    <a:cubicBezTo>
                      <a:pt x="98" y="7"/>
                      <a:pt x="84" y="14"/>
                      <a:pt x="81" y="12"/>
                    </a:cubicBezTo>
                    <a:cubicBezTo>
                      <a:pt x="79" y="9"/>
                      <a:pt x="95" y="2"/>
                      <a:pt x="81" y="2"/>
                    </a:cubicBezTo>
                    <a:cubicBezTo>
                      <a:pt x="79" y="2"/>
                      <a:pt x="78" y="5"/>
                      <a:pt x="76" y="5"/>
                    </a:cubicBezTo>
                    <a:cubicBezTo>
                      <a:pt x="74" y="4"/>
                      <a:pt x="73" y="1"/>
                      <a:pt x="72" y="0"/>
                    </a:cubicBezTo>
                    <a:cubicBezTo>
                      <a:pt x="71" y="1"/>
                      <a:pt x="71" y="2"/>
                      <a:pt x="69" y="3"/>
                    </a:cubicBezTo>
                    <a:cubicBezTo>
                      <a:pt x="67" y="4"/>
                      <a:pt x="60" y="5"/>
                      <a:pt x="63" y="6"/>
                    </a:cubicBezTo>
                    <a:cubicBezTo>
                      <a:pt x="64" y="7"/>
                      <a:pt x="68" y="8"/>
                      <a:pt x="67" y="9"/>
                    </a:cubicBezTo>
                    <a:cubicBezTo>
                      <a:pt x="57" y="15"/>
                      <a:pt x="41" y="18"/>
                      <a:pt x="33" y="25"/>
                    </a:cubicBezTo>
                    <a:cubicBezTo>
                      <a:pt x="23" y="34"/>
                      <a:pt x="15" y="44"/>
                      <a:pt x="1" y="51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1"/>
                      <a:pt x="0" y="51"/>
                      <a:pt x="0" y="50"/>
                    </a:cubicBezTo>
                    <a:cubicBezTo>
                      <a:pt x="1" y="52"/>
                      <a:pt x="0" y="54"/>
                      <a:pt x="2" y="56"/>
                    </a:cubicBezTo>
                    <a:cubicBezTo>
                      <a:pt x="7" y="60"/>
                      <a:pt x="24" y="59"/>
                      <a:pt x="28" y="74"/>
                    </a:cubicBezTo>
                    <a:cubicBezTo>
                      <a:pt x="29" y="82"/>
                      <a:pt x="24" y="95"/>
                      <a:pt x="30" y="101"/>
                    </a:cubicBezTo>
                    <a:cubicBezTo>
                      <a:pt x="34" y="105"/>
                      <a:pt x="39" y="106"/>
                      <a:pt x="41" y="110"/>
                    </a:cubicBezTo>
                    <a:cubicBezTo>
                      <a:pt x="42" y="111"/>
                      <a:pt x="38" y="115"/>
                      <a:pt x="39" y="115"/>
                    </a:cubicBezTo>
                    <a:cubicBezTo>
                      <a:pt x="58" y="114"/>
                      <a:pt x="67" y="104"/>
                      <a:pt x="80" y="104"/>
                    </a:cubicBezTo>
                    <a:close/>
                    <a:moveTo>
                      <a:pt x="79" y="13"/>
                    </a:moveTo>
                    <a:cubicBezTo>
                      <a:pt x="80" y="14"/>
                      <a:pt x="81" y="14"/>
                      <a:pt x="82" y="14"/>
                    </a:cubicBezTo>
                    <a:cubicBezTo>
                      <a:pt x="83" y="17"/>
                      <a:pt x="72" y="17"/>
                      <a:pt x="79" y="1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3" name="Freeform 9"/>
              <p:cNvSpPr>
                <a:spLocks/>
              </p:cNvSpPr>
              <p:nvPr/>
            </p:nvSpPr>
            <p:spPr bwMode="auto">
              <a:xfrm>
                <a:off x="4737313" y="4981036"/>
                <a:ext cx="399863" cy="280348"/>
              </a:xfrm>
              <a:custGeom>
                <a:avLst/>
                <a:gdLst>
                  <a:gd name="T0" fmla="*/ 232 w 239"/>
                  <a:gd name="T1" fmla="*/ 83 h 156"/>
                  <a:gd name="T2" fmla="*/ 232 w 239"/>
                  <a:gd name="T3" fmla="*/ 101 h 156"/>
                  <a:gd name="T4" fmla="*/ 218 w 239"/>
                  <a:gd name="T5" fmla="*/ 109 h 156"/>
                  <a:gd name="T6" fmla="*/ 219 w 239"/>
                  <a:gd name="T7" fmla="*/ 121 h 156"/>
                  <a:gd name="T8" fmla="*/ 206 w 239"/>
                  <a:gd name="T9" fmla="*/ 112 h 156"/>
                  <a:gd name="T10" fmla="*/ 176 w 239"/>
                  <a:gd name="T11" fmla="*/ 102 h 156"/>
                  <a:gd name="T12" fmla="*/ 157 w 239"/>
                  <a:gd name="T13" fmla="*/ 143 h 156"/>
                  <a:gd name="T14" fmla="*/ 152 w 239"/>
                  <a:gd name="T15" fmla="*/ 144 h 156"/>
                  <a:gd name="T16" fmla="*/ 150 w 239"/>
                  <a:gd name="T17" fmla="*/ 135 h 156"/>
                  <a:gd name="T18" fmla="*/ 129 w 239"/>
                  <a:gd name="T19" fmla="*/ 121 h 156"/>
                  <a:gd name="T20" fmla="*/ 129 w 239"/>
                  <a:gd name="T21" fmla="*/ 105 h 156"/>
                  <a:gd name="T22" fmla="*/ 119 w 239"/>
                  <a:gd name="T23" fmla="*/ 113 h 156"/>
                  <a:gd name="T24" fmla="*/ 114 w 239"/>
                  <a:gd name="T25" fmla="*/ 126 h 156"/>
                  <a:gd name="T26" fmla="*/ 83 w 239"/>
                  <a:gd name="T27" fmla="*/ 139 h 156"/>
                  <a:gd name="T28" fmla="*/ 50 w 239"/>
                  <a:gd name="T29" fmla="*/ 132 h 156"/>
                  <a:gd name="T30" fmla="*/ 48 w 239"/>
                  <a:gd name="T31" fmla="*/ 127 h 156"/>
                  <a:gd name="T32" fmla="*/ 47 w 239"/>
                  <a:gd name="T33" fmla="*/ 117 h 156"/>
                  <a:gd name="T34" fmla="*/ 44 w 239"/>
                  <a:gd name="T35" fmla="*/ 105 h 156"/>
                  <a:gd name="T36" fmla="*/ 16 w 239"/>
                  <a:gd name="T37" fmla="*/ 113 h 156"/>
                  <a:gd name="T38" fmla="*/ 0 w 239"/>
                  <a:gd name="T39" fmla="*/ 125 h 156"/>
                  <a:gd name="T40" fmla="*/ 9 w 239"/>
                  <a:gd name="T41" fmla="*/ 116 h 156"/>
                  <a:gd name="T42" fmla="*/ 27 w 239"/>
                  <a:gd name="T43" fmla="*/ 79 h 156"/>
                  <a:gd name="T44" fmla="*/ 41 w 239"/>
                  <a:gd name="T45" fmla="*/ 60 h 156"/>
                  <a:gd name="T46" fmla="*/ 61 w 239"/>
                  <a:gd name="T47" fmla="*/ 37 h 156"/>
                  <a:gd name="T48" fmla="*/ 57 w 239"/>
                  <a:gd name="T49" fmla="*/ 30 h 156"/>
                  <a:gd name="T50" fmla="*/ 57 w 239"/>
                  <a:gd name="T51" fmla="*/ 26 h 156"/>
                  <a:gd name="T52" fmla="*/ 87 w 239"/>
                  <a:gd name="T53" fmla="*/ 20 h 156"/>
                  <a:gd name="T54" fmla="*/ 92 w 239"/>
                  <a:gd name="T55" fmla="*/ 20 h 156"/>
                  <a:gd name="T56" fmla="*/ 119 w 239"/>
                  <a:gd name="T57" fmla="*/ 19 h 156"/>
                  <a:gd name="T58" fmla="*/ 134 w 239"/>
                  <a:gd name="T59" fmla="*/ 18 h 156"/>
                  <a:gd name="T60" fmla="*/ 129 w 239"/>
                  <a:gd name="T61" fmla="*/ 16 h 156"/>
                  <a:gd name="T62" fmla="*/ 145 w 239"/>
                  <a:gd name="T63" fmla="*/ 14 h 156"/>
                  <a:gd name="T64" fmla="*/ 149 w 239"/>
                  <a:gd name="T65" fmla="*/ 11 h 156"/>
                  <a:gd name="T66" fmla="*/ 172 w 239"/>
                  <a:gd name="T67" fmla="*/ 17 h 156"/>
                  <a:gd name="T68" fmla="*/ 187 w 239"/>
                  <a:gd name="T69" fmla="*/ 27 h 156"/>
                  <a:gd name="T70" fmla="*/ 189 w 239"/>
                  <a:gd name="T71" fmla="*/ 39 h 156"/>
                  <a:gd name="T72" fmla="*/ 203 w 239"/>
                  <a:gd name="T73" fmla="*/ 65 h 156"/>
                  <a:gd name="T74" fmla="*/ 212 w 239"/>
                  <a:gd name="T75" fmla="*/ 76 h 156"/>
                  <a:gd name="T76" fmla="*/ 233 w 239"/>
                  <a:gd name="T77" fmla="*/ 67 h 156"/>
                  <a:gd name="T78" fmla="*/ 233 w 239"/>
                  <a:gd name="T79" fmla="*/ 7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9" h="156">
                    <a:moveTo>
                      <a:pt x="233" y="76"/>
                    </a:moveTo>
                    <a:cubicBezTo>
                      <a:pt x="232" y="78"/>
                      <a:pt x="233" y="81"/>
                      <a:pt x="232" y="83"/>
                    </a:cubicBezTo>
                    <a:cubicBezTo>
                      <a:pt x="231" y="86"/>
                      <a:pt x="229" y="87"/>
                      <a:pt x="228" y="90"/>
                    </a:cubicBezTo>
                    <a:cubicBezTo>
                      <a:pt x="228" y="91"/>
                      <a:pt x="239" y="99"/>
                      <a:pt x="232" y="101"/>
                    </a:cubicBezTo>
                    <a:cubicBezTo>
                      <a:pt x="220" y="104"/>
                      <a:pt x="224" y="87"/>
                      <a:pt x="214" y="95"/>
                    </a:cubicBezTo>
                    <a:cubicBezTo>
                      <a:pt x="206" y="100"/>
                      <a:pt x="216" y="106"/>
                      <a:pt x="218" y="109"/>
                    </a:cubicBezTo>
                    <a:cubicBezTo>
                      <a:pt x="218" y="112"/>
                      <a:pt x="215" y="113"/>
                      <a:pt x="215" y="116"/>
                    </a:cubicBezTo>
                    <a:cubicBezTo>
                      <a:pt x="215" y="118"/>
                      <a:pt x="218" y="119"/>
                      <a:pt x="219" y="121"/>
                    </a:cubicBezTo>
                    <a:cubicBezTo>
                      <a:pt x="219" y="123"/>
                      <a:pt x="215" y="125"/>
                      <a:pt x="212" y="124"/>
                    </a:cubicBezTo>
                    <a:cubicBezTo>
                      <a:pt x="209" y="122"/>
                      <a:pt x="211" y="113"/>
                      <a:pt x="206" y="112"/>
                    </a:cubicBezTo>
                    <a:cubicBezTo>
                      <a:pt x="191" y="109"/>
                      <a:pt x="198" y="121"/>
                      <a:pt x="189" y="118"/>
                    </a:cubicBezTo>
                    <a:cubicBezTo>
                      <a:pt x="175" y="114"/>
                      <a:pt x="184" y="103"/>
                      <a:pt x="176" y="102"/>
                    </a:cubicBezTo>
                    <a:cubicBezTo>
                      <a:pt x="167" y="100"/>
                      <a:pt x="173" y="116"/>
                      <a:pt x="173" y="117"/>
                    </a:cubicBezTo>
                    <a:cubicBezTo>
                      <a:pt x="171" y="127"/>
                      <a:pt x="157" y="130"/>
                      <a:pt x="157" y="143"/>
                    </a:cubicBezTo>
                    <a:cubicBezTo>
                      <a:pt x="157" y="148"/>
                      <a:pt x="168" y="146"/>
                      <a:pt x="159" y="153"/>
                    </a:cubicBezTo>
                    <a:cubicBezTo>
                      <a:pt x="155" y="156"/>
                      <a:pt x="154" y="147"/>
                      <a:pt x="152" y="144"/>
                    </a:cubicBezTo>
                    <a:cubicBezTo>
                      <a:pt x="150" y="142"/>
                      <a:pt x="146" y="143"/>
                      <a:pt x="146" y="141"/>
                    </a:cubicBezTo>
                    <a:cubicBezTo>
                      <a:pt x="145" y="139"/>
                      <a:pt x="149" y="137"/>
                      <a:pt x="150" y="135"/>
                    </a:cubicBezTo>
                    <a:cubicBezTo>
                      <a:pt x="150" y="134"/>
                      <a:pt x="149" y="133"/>
                      <a:pt x="148" y="133"/>
                    </a:cubicBezTo>
                    <a:cubicBezTo>
                      <a:pt x="142" y="130"/>
                      <a:pt x="133" y="129"/>
                      <a:pt x="129" y="121"/>
                    </a:cubicBezTo>
                    <a:cubicBezTo>
                      <a:pt x="128" y="119"/>
                      <a:pt x="130" y="117"/>
                      <a:pt x="130" y="115"/>
                    </a:cubicBezTo>
                    <a:cubicBezTo>
                      <a:pt x="130" y="112"/>
                      <a:pt x="130" y="108"/>
                      <a:pt x="129" y="105"/>
                    </a:cubicBezTo>
                    <a:cubicBezTo>
                      <a:pt x="129" y="104"/>
                      <a:pt x="128" y="105"/>
                      <a:pt x="126" y="106"/>
                    </a:cubicBezTo>
                    <a:cubicBezTo>
                      <a:pt x="124" y="108"/>
                      <a:pt x="121" y="110"/>
                      <a:pt x="119" y="113"/>
                    </a:cubicBezTo>
                    <a:cubicBezTo>
                      <a:pt x="116" y="115"/>
                      <a:pt x="111" y="116"/>
                      <a:pt x="110" y="119"/>
                    </a:cubicBezTo>
                    <a:cubicBezTo>
                      <a:pt x="109" y="122"/>
                      <a:pt x="115" y="123"/>
                      <a:pt x="114" y="126"/>
                    </a:cubicBezTo>
                    <a:cubicBezTo>
                      <a:pt x="114" y="129"/>
                      <a:pt x="98" y="145"/>
                      <a:pt x="98" y="145"/>
                    </a:cubicBezTo>
                    <a:cubicBezTo>
                      <a:pt x="93" y="145"/>
                      <a:pt x="89" y="138"/>
                      <a:pt x="83" y="139"/>
                    </a:cubicBezTo>
                    <a:cubicBezTo>
                      <a:pt x="76" y="141"/>
                      <a:pt x="61" y="152"/>
                      <a:pt x="55" y="142"/>
                    </a:cubicBezTo>
                    <a:cubicBezTo>
                      <a:pt x="53" y="139"/>
                      <a:pt x="53" y="135"/>
                      <a:pt x="50" y="132"/>
                    </a:cubicBezTo>
                    <a:cubicBezTo>
                      <a:pt x="50" y="131"/>
                      <a:pt x="47" y="134"/>
                      <a:pt x="47" y="133"/>
                    </a:cubicBezTo>
                    <a:cubicBezTo>
                      <a:pt x="46" y="131"/>
                      <a:pt x="49" y="129"/>
                      <a:pt x="48" y="127"/>
                    </a:cubicBezTo>
                    <a:cubicBezTo>
                      <a:pt x="47" y="125"/>
                      <a:pt x="44" y="127"/>
                      <a:pt x="43" y="126"/>
                    </a:cubicBezTo>
                    <a:cubicBezTo>
                      <a:pt x="39" y="120"/>
                      <a:pt x="47" y="121"/>
                      <a:pt x="47" y="117"/>
                    </a:cubicBezTo>
                    <a:cubicBezTo>
                      <a:pt x="46" y="114"/>
                      <a:pt x="43" y="113"/>
                      <a:pt x="43" y="110"/>
                    </a:cubicBezTo>
                    <a:cubicBezTo>
                      <a:pt x="42" y="109"/>
                      <a:pt x="47" y="105"/>
                      <a:pt x="44" y="105"/>
                    </a:cubicBezTo>
                    <a:cubicBezTo>
                      <a:pt x="37" y="101"/>
                      <a:pt x="21" y="101"/>
                      <a:pt x="16" y="109"/>
                    </a:cubicBezTo>
                    <a:cubicBezTo>
                      <a:pt x="15" y="110"/>
                      <a:pt x="16" y="112"/>
                      <a:pt x="16" y="113"/>
                    </a:cubicBezTo>
                    <a:cubicBezTo>
                      <a:pt x="16" y="114"/>
                      <a:pt x="19" y="116"/>
                      <a:pt x="18" y="117"/>
                    </a:cubicBezTo>
                    <a:cubicBezTo>
                      <a:pt x="15" y="123"/>
                      <a:pt x="7" y="126"/>
                      <a:pt x="0" y="125"/>
                    </a:cubicBezTo>
                    <a:cubicBezTo>
                      <a:pt x="0" y="125"/>
                      <a:pt x="3" y="123"/>
                      <a:pt x="3" y="122"/>
                    </a:cubicBezTo>
                    <a:cubicBezTo>
                      <a:pt x="3" y="115"/>
                      <a:pt x="8" y="118"/>
                      <a:pt x="9" y="116"/>
                    </a:cubicBezTo>
                    <a:cubicBezTo>
                      <a:pt x="12" y="107"/>
                      <a:pt x="4" y="99"/>
                      <a:pt x="11" y="91"/>
                    </a:cubicBezTo>
                    <a:cubicBezTo>
                      <a:pt x="15" y="85"/>
                      <a:pt x="25" y="85"/>
                      <a:pt x="27" y="79"/>
                    </a:cubicBezTo>
                    <a:cubicBezTo>
                      <a:pt x="29" y="75"/>
                      <a:pt x="26" y="70"/>
                      <a:pt x="27" y="66"/>
                    </a:cubicBezTo>
                    <a:cubicBezTo>
                      <a:pt x="30" y="62"/>
                      <a:pt x="38" y="63"/>
                      <a:pt x="41" y="60"/>
                    </a:cubicBezTo>
                    <a:cubicBezTo>
                      <a:pt x="45" y="56"/>
                      <a:pt x="50" y="45"/>
                      <a:pt x="55" y="41"/>
                    </a:cubicBezTo>
                    <a:cubicBezTo>
                      <a:pt x="57" y="39"/>
                      <a:pt x="60" y="45"/>
                      <a:pt x="61" y="37"/>
                    </a:cubicBezTo>
                    <a:cubicBezTo>
                      <a:pt x="61" y="34"/>
                      <a:pt x="52" y="40"/>
                      <a:pt x="52" y="37"/>
                    </a:cubicBezTo>
                    <a:cubicBezTo>
                      <a:pt x="51" y="34"/>
                      <a:pt x="55" y="32"/>
                      <a:pt x="57" y="30"/>
                    </a:cubicBezTo>
                    <a:cubicBezTo>
                      <a:pt x="57" y="30"/>
                      <a:pt x="58" y="30"/>
                      <a:pt x="58" y="30"/>
                    </a:cubicBezTo>
                    <a:cubicBezTo>
                      <a:pt x="58" y="28"/>
                      <a:pt x="56" y="26"/>
                      <a:pt x="57" y="26"/>
                    </a:cubicBezTo>
                    <a:cubicBezTo>
                      <a:pt x="73" y="21"/>
                      <a:pt x="66" y="43"/>
                      <a:pt x="85" y="23"/>
                    </a:cubicBezTo>
                    <a:cubicBezTo>
                      <a:pt x="86" y="23"/>
                      <a:pt x="87" y="22"/>
                      <a:pt x="87" y="20"/>
                    </a:cubicBezTo>
                    <a:cubicBezTo>
                      <a:pt x="89" y="19"/>
                      <a:pt x="89" y="19"/>
                      <a:pt x="89" y="19"/>
                    </a:cubicBezTo>
                    <a:cubicBezTo>
                      <a:pt x="90" y="19"/>
                      <a:pt x="91" y="19"/>
                      <a:pt x="92" y="20"/>
                    </a:cubicBezTo>
                    <a:cubicBezTo>
                      <a:pt x="93" y="20"/>
                      <a:pt x="89" y="21"/>
                      <a:pt x="89" y="22"/>
                    </a:cubicBezTo>
                    <a:cubicBezTo>
                      <a:pt x="91" y="26"/>
                      <a:pt x="117" y="19"/>
                      <a:pt x="119" y="19"/>
                    </a:cubicBezTo>
                    <a:cubicBezTo>
                      <a:pt x="130" y="19"/>
                      <a:pt x="120" y="30"/>
                      <a:pt x="134" y="22"/>
                    </a:cubicBezTo>
                    <a:cubicBezTo>
                      <a:pt x="134" y="22"/>
                      <a:pt x="133" y="19"/>
                      <a:pt x="134" y="18"/>
                    </a:cubicBezTo>
                    <a:cubicBezTo>
                      <a:pt x="136" y="17"/>
                      <a:pt x="142" y="17"/>
                      <a:pt x="139" y="16"/>
                    </a:cubicBezTo>
                    <a:cubicBezTo>
                      <a:pt x="136" y="15"/>
                      <a:pt x="133" y="17"/>
                      <a:pt x="129" y="16"/>
                    </a:cubicBezTo>
                    <a:cubicBezTo>
                      <a:pt x="128" y="15"/>
                      <a:pt x="137" y="0"/>
                      <a:pt x="146" y="9"/>
                    </a:cubicBezTo>
                    <a:cubicBezTo>
                      <a:pt x="147" y="10"/>
                      <a:pt x="144" y="12"/>
                      <a:pt x="145" y="14"/>
                    </a:cubicBezTo>
                    <a:cubicBezTo>
                      <a:pt x="145" y="15"/>
                      <a:pt x="147" y="15"/>
                      <a:pt x="149" y="15"/>
                    </a:cubicBezTo>
                    <a:cubicBezTo>
                      <a:pt x="150" y="14"/>
                      <a:pt x="148" y="10"/>
                      <a:pt x="149" y="11"/>
                    </a:cubicBezTo>
                    <a:cubicBezTo>
                      <a:pt x="151" y="13"/>
                      <a:pt x="151" y="17"/>
                      <a:pt x="153" y="18"/>
                    </a:cubicBezTo>
                    <a:cubicBezTo>
                      <a:pt x="153" y="18"/>
                      <a:pt x="172" y="17"/>
                      <a:pt x="172" y="17"/>
                    </a:cubicBezTo>
                    <a:cubicBezTo>
                      <a:pt x="178" y="18"/>
                      <a:pt x="182" y="23"/>
                      <a:pt x="187" y="26"/>
                    </a:cubicBezTo>
                    <a:cubicBezTo>
                      <a:pt x="187" y="27"/>
                      <a:pt x="187" y="27"/>
                      <a:pt x="187" y="27"/>
                    </a:cubicBezTo>
                    <a:cubicBezTo>
                      <a:pt x="187" y="31"/>
                      <a:pt x="194" y="32"/>
                      <a:pt x="192" y="37"/>
                    </a:cubicBezTo>
                    <a:cubicBezTo>
                      <a:pt x="192" y="39"/>
                      <a:pt x="189" y="38"/>
                      <a:pt x="189" y="39"/>
                    </a:cubicBezTo>
                    <a:cubicBezTo>
                      <a:pt x="187" y="41"/>
                      <a:pt x="181" y="62"/>
                      <a:pt x="182" y="62"/>
                    </a:cubicBezTo>
                    <a:cubicBezTo>
                      <a:pt x="184" y="63"/>
                      <a:pt x="202" y="65"/>
                      <a:pt x="203" y="65"/>
                    </a:cubicBezTo>
                    <a:cubicBezTo>
                      <a:pt x="204" y="66"/>
                      <a:pt x="201" y="67"/>
                      <a:pt x="202" y="69"/>
                    </a:cubicBezTo>
                    <a:cubicBezTo>
                      <a:pt x="205" y="72"/>
                      <a:pt x="209" y="74"/>
                      <a:pt x="212" y="76"/>
                    </a:cubicBezTo>
                    <a:cubicBezTo>
                      <a:pt x="222" y="80"/>
                      <a:pt x="223" y="65"/>
                      <a:pt x="229" y="66"/>
                    </a:cubicBezTo>
                    <a:cubicBezTo>
                      <a:pt x="231" y="66"/>
                      <a:pt x="232" y="67"/>
                      <a:pt x="233" y="67"/>
                    </a:cubicBezTo>
                    <a:cubicBezTo>
                      <a:pt x="233" y="73"/>
                      <a:pt x="233" y="73"/>
                      <a:pt x="233" y="73"/>
                    </a:cubicBezTo>
                    <a:cubicBezTo>
                      <a:pt x="232" y="74"/>
                      <a:pt x="232" y="75"/>
                      <a:pt x="233" y="7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4" name="Freeform 8"/>
              <p:cNvSpPr>
                <a:spLocks/>
              </p:cNvSpPr>
              <p:nvPr/>
            </p:nvSpPr>
            <p:spPr bwMode="auto">
              <a:xfrm>
                <a:off x="6453758" y="4707060"/>
                <a:ext cx="340623" cy="383886"/>
              </a:xfrm>
              <a:custGeom>
                <a:avLst/>
                <a:gdLst>
                  <a:gd name="T0" fmla="*/ 0 w 204"/>
                  <a:gd name="T1" fmla="*/ 28 h 213"/>
                  <a:gd name="T2" fmla="*/ 19 w 204"/>
                  <a:gd name="T3" fmla="*/ 33 h 213"/>
                  <a:gd name="T4" fmla="*/ 43 w 204"/>
                  <a:gd name="T5" fmla="*/ 65 h 213"/>
                  <a:gd name="T6" fmla="*/ 107 w 204"/>
                  <a:gd name="T7" fmla="*/ 129 h 213"/>
                  <a:gd name="T8" fmla="*/ 109 w 204"/>
                  <a:gd name="T9" fmla="*/ 174 h 213"/>
                  <a:gd name="T10" fmla="*/ 120 w 204"/>
                  <a:gd name="T11" fmla="*/ 200 h 213"/>
                  <a:gd name="T12" fmla="*/ 116 w 204"/>
                  <a:gd name="T13" fmla="*/ 205 h 213"/>
                  <a:gd name="T14" fmla="*/ 122 w 204"/>
                  <a:gd name="T15" fmla="*/ 208 h 213"/>
                  <a:gd name="T16" fmla="*/ 126 w 204"/>
                  <a:gd name="T17" fmla="*/ 213 h 213"/>
                  <a:gd name="T18" fmla="*/ 129 w 204"/>
                  <a:gd name="T19" fmla="*/ 206 h 213"/>
                  <a:gd name="T20" fmla="*/ 138 w 204"/>
                  <a:gd name="T21" fmla="*/ 206 h 213"/>
                  <a:gd name="T22" fmla="*/ 139 w 204"/>
                  <a:gd name="T23" fmla="*/ 185 h 213"/>
                  <a:gd name="T24" fmla="*/ 146 w 204"/>
                  <a:gd name="T25" fmla="*/ 178 h 213"/>
                  <a:gd name="T26" fmla="*/ 146 w 204"/>
                  <a:gd name="T27" fmla="*/ 168 h 213"/>
                  <a:gd name="T28" fmla="*/ 153 w 204"/>
                  <a:gd name="T29" fmla="*/ 163 h 213"/>
                  <a:gd name="T30" fmla="*/ 151 w 204"/>
                  <a:gd name="T31" fmla="*/ 156 h 213"/>
                  <a:gd name="T32" fmla="*/ 153 w 204"/>
                  <a:gd name="T33" fmla="*/ 148 h 213"/>
                  <a:gd name="T34" fmla="*/ 146 w 204"/>
                  <a:gd name="T35" fmla="*/ 129 h 213"/>
                  <a:gd name="T36" fmla="*/ 156 w 204"/>
                  <a:gd name="T37" fmla="*/ 122 h 213"/>
                  <a:gd name="T38" fmla="*/ 159 w 204"/>
                  <a:gd name="T39" fmla="*/ 129 h 213"/>
                  <a:gd name="T40" fmla="*/ 158 w 204"/>
                  <a:gd name="T41" fmla="*/ 132 h 213"/>
                  <a:gd name="T42" fmla="*/ 160 w 204"/>
                  <a:gd name="T43" fmla="*/ 133 h 213"/>
                  <a:gd name="T44" fmla="*/ 164 w 204"/>
                  <a:gd name="T45" fmla="*/ 124 h 213"/>
                  <a:gd name="T46" fmla="*/ 166 w 204"/>
                  <a:gd name="T47" fmla="*/ 127 h 213"/>
                  <a:gd name="T48" fmla="*/ 169 w 204"/>
                  <a:gd name="T49" fmla="*/ 122 h 213"/>
                  <a:gd name="T50" fmla="*/ 179 w 204"/>
                  <a:gd name="T51" fmla="*/ 128 h 213"/>
                  <a:gd name="T52" fmla="*/ 182 w 204"/>
                  <a:gd name="T53" fmla="*/ 118 h 213"/>
                  <a:gd name="T54" fmla="*/ 192 w 204"/>
                  <a:gd name="T55" fmla="*/ 126 h 213"/>
                  <a:gd name="T56" fmla="*/ 194 w 204"/>
                  <a:gd name="T57" fmla="*/ 122 h 213"/>
                  <a:gd name="T58" fmla="*/ 204 w 204"/>
                  <a:gd name="T59" fmla="*/ 117 h 213"/>
                  <a:gd name="T60" fmla="*/ 190 w 204"/>
                  <a:gd name="T61" fmla="*/ 111 h 213"/>
                  <a:gd name="T62" fmla="*/ 192 w 204"/>
                  <a:gd name="T63" fmla="*/ 109 h 213"/>
                  <a:gd name="T64" fmla="*/ 187 w 204"/>
                  <a:gd name="T65" fmla="*/ 91 h 213"/>
                  <a:gd name="T66" fmla="*/ 166 w 204"/>
                  <a:gd name="T67" fmla="*/ 85 h 213"/>
                  <a:gd name="T68" fmla="*/ 162 w 204"/>
                  <a:gd name="T69" fmla="*/ 76 h 213"/>
                  <a:gd name="T70" fmla="*/ 158 w 204"/>
                  <a:gd name="T71" fmla="*/ 59 h 213"/>
                  <a:gd name="T72" fmla="*/ 152 w 204"/>
                  <a:gd name="T73" fmla="*/ 64 h 213"/>
                  <a:gd name="T74" fmla="*/ 134 w 204"/>
                  <a:gd name="T75" fmla="*/ 50 h 213"/>
                  <a:gd name="T76" fmla="*/ 126 w 204"/>
                  <a:gd name="T77" fmla="*/ 17 h 213"/>
                  <a:gd name="T78" fmla="*/ 119 w 204"/>
                  <a:gd name="T79" fmla="*/ 24 h 213"/>
                  <a:gd name="T80" fmla="*/ 95 w 204"/>
                  <a:gd name="T81" fmla="*/ 12 h 213"/>
                  <a:gd name="T82" fmla="*/ 91 w 204"/>
                  <a:gd name="T83" fmla="*/ 20 h 213"/>
                  <a:gd name="T84" fmla="*/ 88 w 204"/>
                  <a:gd name="T85" fmla="*/ 13 h 213"/>
                  <a:gd name="T86" fmla="*/ 83 w 204"/>
                  <a:gd name="T87" fmla="*/ 16 h 213"/>
                  <a:gd name="T88" fmla="*/ 83 w 204"/>
                  <a:gd name="T89" fmla="*/ 9 h 213"/>
                  <a:gd name="T90" fmla="*/ 70 w 204"/>
                  <a:gd name="T91" fmla="*/ 13 h 213"/>
                  <a:gd name="T92" fmla="*/ 69 w 204"/>
                  <a:gd name="T93" fmla="*/ 8 h 213"/>
                  <a:gd name="T94" fmla="*/ 50 w 204"/>
                  <a:gd name="T95" fmla="*/ 2 h 213"/>
                  <a:gd name="T96" fmla="*/ 28 w 204"/>
                  <a:gd name="T97" fmla="*/ 14 h 213"/>
                  <a:gd name="T98" fmla="*/ 5 w 204"/>
                  <a:gd name="T99" fmla="*/ 18 h 213"/>
                  <a:gd name="T100" fmla="*/ 8 w 204"/>
                  <a:gd name="T101" fmla="*/ 24 h 213"/>
                  <a:gd name="T102" fmla="*/ 2 w 204"/>
                  <a:gd name="T103" fmla="*/ 21 h 213"/>
                  <a:gd name="T104" fmla="*/ 0 w 204"/>
                  <a:gd name="T105" fmla="*/ 28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4" h="213">
                    <a:moveTo>
                      <a:pt x="0" y="28"/>
                    </a:moveTo>
                    <a:cubicBezTo>
                      <a:pt x="8" y="24"/>
                      <a:pt x="13" y="28"/>
                      <a:pt x="19" y="33"/>
                    </a:cubicBezTo>
                    <a:cubicBezTo>
                      <a:pt x="31" y="41"/>
                      <a:pt x="33" y="55"/>
                      <a:pt x="43" y="65"/>
                    </a:cubicBezTo>
                    <a:cubicBezTo>
                      <a:pt x="59" y="80"/>
                      <a:pt x="102" y="107"/>
                      <a:pt x="107" y="129"/>
                    </a:cubicBezTo>
                    <a:cubicBezTo>
                      <a:pt x="111" y="144"/>
                      <a:pt x="106" y="159"/>
                      <a:pt x="109" y="174"/>
                    </a:cubicBezTo>
                    <a:cubicBezTo>
                      <a:pt x="110" y="180"/>
                      <a:pt x="121" y="194"/>
                      <a:pt x="120" y="200"/>
                    </a:cubicBezTo>
                    <a:cubicBezTo>
                      <a:pt x="120" y="202"/>
                      <a:pt x="116" y="203"/>
                      <a:pt x="116" y="205"/>
                    </a:cubicBezTo>
                    <a:cubicBezTo>
                      <a:pt x="117" y="208"/>
                      <a:pt x="120" y="206"/>
                      <a:pt x="122" y="208"/>
                    </a:cubicBezTo>
                    <a:cubicBezTo>
                      <a:pt x="123" y="209"/>
                      <a:pt x="123" y="213"/>
                      <a:pt x="126" y="213"/>
                    </a:cubicBezTo>
                    <a:cubicBezTo>
                      <a:pt x="129" y="213"/>
                      <a:pt x="126" y="206"/>
                      <a:pt x="129" y="206"/>
                    </a:cubicBezTo>
                    <a:cubicBezTo>
                      <a:pt x="132" y="205"/>
                      <a:pt x="135" y="206"/>
                      <a:pt x="138" y="206"/>
                    </a:cubicBezTo>
                    <a:cubicBezTo>
                      <a:pt x="142" y="205"/>
                      <a:pt x="134" y="193"/>
                      <a:pt x="139" y="185"/>
                    </a:cubicBezTo>
                    <a:cubicBezTo>
                      <a:pt x="140" y="183"/>
                      <a:pt x="144" y="181"/>
                      <a:pt x="146" y="178"/>
                    </a:cubicBezTo>
                    <a:cubicBezTo>
                      <a:pt x="149" y="174"/>
                      <a:pt x="141" y="172"/>
                      <a:pt x="146" y="168"/>
                    </a:cubicBezTo>
                    <a:cubicBezTo>
                      <a:pt x="148" y="166"/>
                      <a:pt x="152" y="166"/>
                      <a:pt x="153" y="163"/>
                    </a:cubicBezTo>
                    <a:cubicBezTo>
                      <a:pt x="155" y="161"/>
                      <a:pt x="151" y="159"/>
                      <a:pt x="151" y="156"/>
                    </a:cubicBezTo>
                    <a:cubicBezTo>
                      <a:pt x="151" y="153"/>
                      <a:pt x="154" y="150"/>
                      <a:pt x="153" y="148"/>
                    </a:cubicBezTo>
                    <a:cubicBezTo>
                      <a:pt x="152" y="143"/>
                      <a:pt x="138" y="139"/>
                      <a:pt x="146" y="129"/>
                    </a:cubicBezTo>
                    <a:cubicBezTo>
                      <a:pt x="149" y="126"/>
                      <a:pt x="154" y="118"/>
                      <a:pt x="156" y="122"/>
                    </a:cubicBezTo>
                    <a:cubicBezTo>
                      <a:pt x="157" y="124"/>
                      <a:pt x="159" y="127"/>
                      <a:pt x="159" y="129"/>
                    </a:cubicBezTo>
                    <a:cubicBezTo>
                      <a:pt x="159" y="131"/>
                      <a:pt x="158" y="131"/>
                      <a:pt x="158" y="132"/>
                    </a:cubicBezTo>
                    <a:cubicBezTo>
                      <a:pt x="159" y="133"/>
                      <a:pt x="160" y="133"/>
                      <a:pt x="160" y="133"/>
                    </a:cubicBezTo>
                    <a:cubicBezTo>
                      <a:pt x="162" y="131"/>
                      <a:pt x="161" y="127"/>
                      <a:pt x="164" y="124"/>
                    </a:cubicBezTo>
                    <a:cubicBezTo>
                      <a:pt x="165" y="123"/>
                      <a:pt x="165" y="128"/>
                      <a:pt x="166" y="127"/>
                    </a:cubicBezTo>
                    <a:cubicBezTo>
                      <a:pt x="169" y="127"/>
                      <a:pt x="168" y="123"/>
                      <a:pt x="169" y="122"/>
                    </a:cubicBezTo>
                    <a:cubicBezTo>
                      <a:pt x="169" y="122"/>
                      <a:pt x="177" y="127"/>
                      <a:pt x="179" y="128"/>
                    </a:cubicBezTo>
                    <a:cubicBezTo>
                      <a:pt x="182" y="128"/>
                      <a:pt x="179" y="118"/>
                      <a:pt x="182" y="118"/>
                    </a:cubicBezTo>
                    <a:cubicBezTo>
                      <a:pt x="187" y="118"/>
                      <a:pt x="190" y="128"/>
                      <a:pt x="192" y="126"/>
                    </a:cubicBezTo>
                    <a:cubicBezTo>
                      <a:pt x="193" y="124"/>
                      <a:pt x="192" y="123"/>
                      <a:pt x="194" y="122"/>
                    </a:cubicBezTo>
                    <a:cubicBezTo>
                      <a:pt x="196" y="120"/>
                      <a:pt x="200" y="119"/>
                      <a:pt x="204" y="117"/>
                    </a:cubicBezTo>
                    <a:cubicBezTo>
                      <a:pt x="204" y="116"/>
                      <a:pt x="191" y="115"/>
                      <a:pt x="190" y="111"/>
                    </a:cubicBezTo>
                    <a:cubicBezTo>
                      <a:pt x="189" y="110"/>
                      <a:pt x="192" y="110"/>
                      <a:pt x="192" y="109"/>
                    </a:cubicBezTo>
                    <a:cubicBezTo>
                      <a:pt x="187" y="91"/>
                      <a:pt x="187" y="91"/>
                      <a:pt x="187" y="91"/>
                    </a:cubicBezTo>
                    <a:cubicBezTo>
                      <a:pt x="183" y="88"/>
                      <a:pt x="169" y="88"/>
                      <a:pt x="166" y="85"/>
                    </a:cubicBezTo>
                    <a:cubicBezTo>
                      <a:pt x="164" y="83"/>
                      <a:pt x="165" y="74"/>
                      <a:pt x="162" y="76"/>
                    </a:cubicBezTo>
                    <a:cubicBezTo>
                      <a:pt x="155" y="80"/>
                      <a:pt x="168" y="64"/>
                      <a:pt x="158" y="59"/>
                    </a:cubicBezTo>
                    <a:cubicBezTo>
                      <a:pt x="150" y="54"/>
                      <a:pt x="159" y="67"/>
                      <a:pt x="152" y="64"/>
                    </a:cubicBezTo>
                    <a:cubicBezTo>
                      <a:pt x="148" y="63"/>
                      <a:pt x="134" y="53"/>
                      <a:pt x="134" y="50"/>
                    </a:cubicBezTo>
                    <a:cubicBezTo>
                      <a:pt x="130" y="38"/>
                      <a:pt x="139" y="26"/>
                      <a:pt x="126" y="17"/>
                    </a:cubicBezTo>
                    <a:cubicBezTo>
                      <a:pt x="121" y="15"/>
                      <a:pt x="125" y="26"/>
                      <a:pt x="119" y="24"/>
                    </a:cubicBezTo>
                    <a:cubicBezTo>
                      <a:pt x="105" y="18"/>
                      <a:pt x="114" y="7"/>
                      <a:pt x="95" y="12"/>
                    </a:cubicBezTo>
                    <a:cubicBezTo>
                      <a:pt x="91" y="13"/>
                      <a:pt x="93" y="23"/>
                      <a:pt x="91" y="20"/>
                    </a:cubicBezTo>
                    <a:cubicBezTo>
                      <a:pt x="89" y="19"/>
                      <a:pt x="89" y="16"/>
                      <a:pt x="88" y="13"/>
                    </a:cubicBezTo>
                    <a:cubicBezTo>
                      <a:pt x="87" y="12"/>
                      <a:pt x="84" y="21"/>
                      <a:pt x="83" y="16"/>
                    </a:cubicBezTo>
                    <a:cubicBezTo>
                      <a:pt x="82" y="14"/>
                      <a:pt x="85" y="8"/>
                      <a:pt x="83" y="9"/>
                    </a:cubicBezTo>
                    <a:cubicBezTo>
                      <a:pt x="78" y="10"/>
                      <a:pt x="74" y="13"/>
                      <a:pt x="70" y="13"/>
                    </a:cubicBezTo>
                    <a:cubicBezTo>
                      <a:pt x="69" y="13"/>
                      <a:pt x="70" y="10"/>
                      <a:pt x="69" y="8"/>
                    </a:cubicBezTo>
                    <a:cubicBezTo>
                      <a:pt x="63" y="4"/>
                      <a:pt x="57" y="2"/>
                      <a:pt x="50" y="2"/>
                    </a:cubicBezTo>
                    <a:cubicBezTo>
                      <a:pt x="35" y="0"/>
                      <a:pt x="39" y="9"/>
                      <a:pt x="28" y="14"/>
                    </a:cubicBezTo>
                    <a:cubicBezTo>
                      <a:pt x="27" y="15"/>
                      <a:pt x="5" y="17"/>
                      <a:pt x="5" y="18"/>
                    </a:cubicBezTo>
                    <a:cubicBezTo>
                      <a:pt x="5" y="20"/>
                      <a:pt x="8" y="21"/>
                      <a:pt x="8" y="24"/>
                    </a:cubicBezTo>
                    <a:cubicBezTo>
                      <a:pt x="9" y="26"/>
                      <a:pt x="3" y="20"/>
                      <a:pt x="2" y="21"/>
                    </a:cubicBezTo>
                    <a:cubicBezTo>
                      <a:pt x="0" y="23"/>
                      <a:pt x="1" y="26"/>
                      <a:pt x="0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5" name="Freeform 7"/>
              <p:cNvSpPr>
                <a:spLocks/>
              </p:cNvSpPr>
              <p:nvPr/>
            </p:nvSpPr>
            <p:spPr bwMode="auto">
              <a:xfrm>
                <a:off x="5944305" y="5613411"/>
                <a:ext cx="192527" cy="391851"/>
              </a:xfrm>
              <a:custGeom>
                <a:avLst/>
                <a:gdLst>
                  <a:gd name="T0" fmla="*/ 107 w 115"/>
                  <a:gd name="T1" fmla="*/ 124 h 218"/>
                  <a:gd name="T2" fmla="*/ 113 w 115"/>
                  <a:gd name="T3" fmla="*/ 140 h 218"/>
                  <a:gd name="T4" fmla="*/ 106 w 115"/>
                  <a:gd name="T5" fmla="*/ 152 h 218"/>
                  <a:gd name="T6" fmla="*/ 100 w 115"/>
                  <a:gd name="T7" fmla="*/ 158 h 218"/>
                  <a:gd name="T8" fmla="*/ 97 w 115"/>
                  <a:gd name="T9" fmla="*/ 182 h 218"/>
                  <a:gd name="T10" fmla="*/ 78 w 115"/>
                  <a:gd name="T11" fmla="*/ 193 h 218"/>
                  <a:gd name="T12" fmla="*/ 85 w 115"/>
                  <a:gd name="T13" fmla="*/ 204 h 218"/>
                  <a:gd name="T14" fmla="*/ 82 w 115"/>
                  <a:gd name="T15" fmla="*/ 206 h 218"/>
                  <a:gd name="T16" fmla="*/ 79 w 115"/>
                  <a:gd name="T17" fmla="*/ 208 h 218"/>
                  <a:gd name="T18" fmla="*/ 71 w 115"/>
                  <a:gd name="T19" fmla="*/ 216 h 218"/>
                  <a:gd name="T20" fmla="*/ 64 w 115"/>
                  <a:gd name="T21" fmla="*/ 216 h 218"/>
                  <a:gd name="T22" fmla="*/ 64 w 115"/>
                  <a:gd name="T23" fmla="*/ 217 h 218"/>
                  <a:gd name="T24" fmla="*/ 62 w 115"/>
                  <a:gd name="T25" fmla="*/ 218 h 218"/>
                  <a:gd name="T26" fmla="*/ 61 w 115"/>
                  <a:gd name="T27" fmla="*/ 216 h 218"/>
                  <a:gd name="T28" fmla="*/ 61 w 115"/>
                  <a:gd name="T29" fmla="*/ 213 h 218"/>
                  <a:gd name="T30" fmla="*/ 62 w 115"/>
                  <a:gd name="T31" fmla="*/ 204 h 218"/>
                  <a:gd name="T32" fmla="*/ 56 w 115"/>
                  <a:gd name="T33" fmla="*/ 202 h 218"/>
                  <a:gd name="T34" fmla="*/ 52 w 115"/>
                  <a:gd name="T35" fmla="*/ 193 h 218"/>
                  <a:gd name="T36" fmla="*/ 16 w 115"/>
                  <a:gd name="T37" fmla="*/ 169 h 218"/>
                  <a:gd name="T38" fmla="*/ 21 w 115"/>
                  <a:gd name="T39" fmla="*/ 167 h 218"/>
                  <a:gd name="T40" fmla="*/ 27 w 115"/>
                  <a:gd name="T41" fmla="*/ 166 h 218"/>
                  <a:gd name="T42" fmla="*/ 14 w 115"/>
                  <a:gd name="T43" fmla="*/ 152 h 218"/>
                  <a:gd name="T44" fmla="*/ 17 w 115"/>
                  <a:gd name="T45" fmla="*/ 148 h 218"/>
                  <a:gd name="T46" fmla="*/ 17 w 115"/>
                  <a:gd name="T47" fmla="*/ 140 h 218"/>
                  <a:gd name="T48" fmla="*/ 17 w 115"/>
                  <a:gd name="T49" fmla="*/ 133 h 218"/>
                  <a:gd name="T50" fmla="*/ 25 w 115"/>
                  <a:gd name="T51" fmla="*/ 131 h 218"/>
                  <a:gd name="T52" fmla="*/ 23 w 115"/>
                  <a:gd name="T53" fmla="*/ 124 h 218"/>
                  <a:gd name="T54" fmla="*/ 21 w 115"/>
                  <a:gd name="T55" fmla="*/ 131 h 218"/>
                  <a:gd name="T56" fmla="*/ 21 w 115"/>
                  <a:gd name="T57" fmla="*/ 106 h 218"/>
                  <a:gd name="T58" fmla="*/ 13 w 115"/>
                  <a:gd name="T59" fmla="*/ 96 h 218"/>
                  <a:gd name="T60" fmla="*/ 15 w 115"/>
                  <a:gd name="T61" fmla="*/ 82 h 218"/>
                  <a:gd name="T62" fmla="*/ 24 w 115"/>
                  <a:gd name="T63" fmla="*/ 80 h 218"/>
                  <a:gd name="T64" fmla="*/ 21 w 115"/>
                  <a:gd name="T65" fmla="*/ 76 h 218"/>
                  <a:gd name="T66" fmla="*/ 21 w 115"/>
                  <a:gd name="T67" fmla="*/ 64 h 218"/>
                  <a:gd name="T68" fmla="*/ 14 w 115"/>
                  <a:gd name="T69" fmla="*/ 63 h 218"/>
                  <a:gd name="T70" fmla="*/ 8 w 115"/>
                  <a:gd name="T71" fmla="*/ 63 h 218"/>
                  <a:gd name="T72" fmla="*/ 8 w 115"/>
                  <a:gd name="T73" fmla="*/ 52 h 218"/>
                  <a:gd name="T74" fmla="*/ 8 w 115"/>
                  <a:gd name="T75" fmla="*/ 45 h 218"/>
                  <a:gd name="T76" fmla="*/ 0 w 115"/>
                  <a:gd name="T77" fmla="*/ 39 h 218"/>
                  <a:gd name="T78" fmla="*/ 20 w 115"/>
                  <a:gd name="T79" fmla="*/ 0 h 218"/>
                  <a:gd name="T80" fmla="*/ 28 w 115"/>
                  <a:gd name="T81" fmla="*/ 15 h 218"/>
                  <a:gd name="T82" fmla="*/ 40 w 115"/>
                  <a:gd name="T83" fmla="*/ 5 h 218"/>
                  <a:gd name="T84" fmla="*/ 52 w 115"/>
                  <a:gd name="T85" fmla="*/ 22 h 218"/>
                  <a:gd name="T86" fmla="*/ 55 w 115"/>
                  <a:gd name="T87" fmla="*/ 22 h 218"/>
                  <a:gd name="T88" fmla="*/ 58 w 115"/>
                  <a:gd name="T89" fmla="*/ 21 h 218"/>
                  <a:gd name="T90" fmla="*/ 69 w 115"/>
                  <a:gd name="T91" fmla="*/ 27 h 218"/>
                  <a:gd name="T92" fmla="*/ 73 w 115"/>
                  <a:gd name="T93" fmla="*/ 63 h 218"/>
                  <a:gd name="T94" fmla="*/ 76 w 115"/>
                  <a:gd name="T95" fmla="*/ 73 h 218"/>
                  <a:gd name="T96" fmla="*/ 72 w 115"/>
                  <a:gd name="T97" fmla="*/ 77 h 218"/>
                  <a:gd name="T98" fmla="*/ 78 w 115"/>
                  <a:gd name="T99" fmla="*/ 87 h 218"/>
                  <a:gd name="T100" fmla="*/ 76 w 115"/>
                  <a:gd name="T101" fmla="*/ 92 h 218"/>
                  <a:gd name="T102" fmla="*/ 92 w 115"/>
                  <a:gd name="T103" fmla="*/ 121 h 218"/>
                  <a:gd name="T104" fmla="*/ 100 w 115"/>
                  <a:gd name="T105" fmla="*/ 119 h 218"/>
                  <a:gd name="T106" fmla="*/ 107 w 115"/>
                  <a:gd name="T107" fmla="*/ 120 h 218"/>
                  <a:gd name="T108" fmla="*/ 107 w 115"/>
                  <a:gd name="T109" fmla="*/ 124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" h="218">
                    <a:moveTo>
                      <a:pt x="107" y="124"/>
                    </a:moveTo>
                    <a:cubicBezTo>
                      <a:pt x="107" y="131"/>
                      <a:pt x="115" y="133"/>
                      <a:pt x="113" y="140"/>
                    </a:cubicBezTo>
                    <a:cubicBezTo>
                      <a:pt x="110" y="152"/>
                      <a:pt x="108" y="152"/>
                      <a:pt x="106" y="152"/>
                    </a:cubicBezTo>
                    <a:cubicBezTo>
                      <a:pt x="104" y="151"/>
                      <a:pt x="102" y="151"/>
                      <a:pt x="100" y="158"/>
                    </a:cubicBezTo>
                    <a:cubicBezTo>
                      <a:pt x="100" y="158"/>
                      <a:pt x="97" y="181"/>
                      <a:pt x="97" y="182"/>
                    </a:cubicBezTo>
                    <a:cubicBezTo>
                      <a:pt x="96" y="183"/>
                      <a:pt x="78" y="189"/>
                      <a:pt x="78" y="193"/>
                    </a:cubicBezTo>
                    <a:cubicBezTo>
                      <a:pt x="85" y="204"/>
                      <a:pt x="85" y="204"/>
                      <a:pt x="85" y="204"/>
                    </a:cubicBezTo>
                    <a:cubicBezTo>
                      <a:pt x="86" y="207"/>
                      <a:pt x="84" y="207"/>
                      <a:pt x="82" y="206"/>
                    </a:cubicBezTo>
                    <a:cubicBezTo>
                      <a:pt x="81" y="206"/>
                      <a:pt x="79" y="206"/>
                      <a:pt x="79" y="208"/>
                    </a:cubicBezTo>
                    <a:cubicBezTo>
                      <a:pt x="79" y="218"/>
                      <a:pt x="76" y="217"/>
                      <a:pt x="71" y="216"/>
                    </a:cubicBezTo>
                    <a:cubicBezTo>
                      <a:pt x="69" y="216"/>
                      <a:pt x="66" y="216"/>
                      <a:pt x="64" y="216"/>
                    </a:cubicBezTo>
                    <a:cubicBezTo>
                      <a:pt x="63" y="216"/>
                      <a:pt x="64" y="217"/>
                      <a:pt x="64" y="217"/>
                    </a:cubicBezTo>
                    <a:cubicBezTo>
                      <a:pt x="63" y="218"/>
                      <a:pt x="63" y="218"/>
                      <a:pt x="62" y="218"/>
                    </a:cubicBezTo>
                    <a:cubicBezTo>
                      <a:pt x="62" y="218"/>
                      <a:pt x="62" y="217"/>
                      <a:pt x="61" y="216"/>
                    </a:cubicBezTo>
                    <a:cubicBezTo>
                      <a:pt x="61" y="215"/>
                      <a:pt x="61" y="214"/>
                      <a:pt x="61" y="213"/>
                    </a:cubicBezTo>
                    <a:cubicBezTo>
                      <a:pt x="61" y="209"/>
                      <a:pt x="63" y="206"/>
                      <a:pt x="62" y="204"/>
                    </a:cubicBezTo>
                    <a:cubicBezTo>
                      <a:pt x="61" y="202"/>
                      <a:pt x="57" y="204"/>
                      <a:pt x="56" y="202"/>
                    </a:cubicBezTo>
                    <a:cubicBezTo>
                      <a:pt x="53" y="200"/>
                      <a:pt x="54" y="195"/>
                      <a:pt x="52" y="193"/>
                    </a:cubicBezTo>
                    <a:cubicBezTo>
                      <a:pt x="48" y="188"/>
                      <a:pt x="12" y="178"/>
                      <a:pt x="16" y="169"/>
                    </a:cubicBezTo>
                    <a:cubicBezTo>
                      <a:pt x="16" y="167"/>
                      <a:pt x="19" y="167"/>
                      <a:pt x="21" y="167"/>
                    </a:cubicBezTo>
                    <a:cubicBezTo>
                      <a:pt x="24" y="168"/>
                      <a:pt x="26" y="168"/>
                      <a:pt x="27" y="166"/>
                    </a:cubicBezTo>
                    <a:cubicBezTo>
                      <a:pt x="27" y="165"/>
                      <a:pt x="16" y="158"/>
                      <a:pt x="14" y="152"/>
                    </a:cubicBezTo>
                    <a:cubicBezTo>
                      <a:pt x="14" y="150"/>
                      <a:pt x="17" y="149"/>
                      <a:pt x="17" y="148"/>
                    </a:cubicBezTo>
                    <a:cubicBezTo>
                      <a:pt x="17" y="145"/>
                      <a:pt x="17" y="142"/>
                      <a:pt x="17" y="140"/>
                    </a:cubicBezTo>
                    <a:cubicBezTo>
                      <a:pt x="17" y="137"/>
                      <a:pt x="16" y="135"/>
                      <a:pt x="17" y="133"/>
                    </a:cubicBezTo>
                    <a:cubicBezTo>
                      <a:pt x="18" y="131"/>
                      <a:pt x="23" y="132"/>
                      <a:pt x="25" y="131"/>
                    </a:cubicBezTo>
                    <a:cubicBezTo>
                      <a:pt x="26" y="129"/>
                      <a:pt x="25" y="124"/>
                      <a:pt x="23" y="124"/>
                    </a:cubicBezTo>
                    <a:cubicBezTo>
                      <a:pt x="21" y="125"/>
                      <a:pt x="22" y="129"/>
                      <a:pt x="21" y="131"/>
                    </a:cubicBezTo>
                    <a:cubicBezTo>
                      <a:pt x="17" y="134"/>
                      <a:pt x="21" y="112"/>
                      <a:pt x="21" y="106"/>
                    </a:cubicBezTo>
                    <a:cubicBezTo>
                      <a:pt x="22" y="99"/>
                      <a:pt x="13" y="103"/>
                      <a:pt x="13" y="96"/>
                    </a:cubicBezTo>
                    <a:cubicBezTo>
                      <a:pt x="13" y="91"/>
                      <a:pt x="12" y="86"/>
                      <a:pt x="15" y="82"/>
                    </a:cubicBezTo>
                    <a:cubicBezTo>
                      <a:pt x="17" y="80"/>
                      <a:pt x="22" y="82"/>
                      <a:pt x="24" y="80"/>
                    </a:cubicBezTo>
                    <a:cubicBezTo>
                      <a:pt x="25" y="79"/>
                      <a:pt x="21" y="78"/>
                      <a:pt x="21" y="76"/>
                    </a:cubicBezTo>
                    <a:cubicBezTo>
                      <a:pt x="20" y="72"/>
                      <a:pt x="24" y="67"/>
                      <a:pt x="21" y="64"/>
                    </a:cubicBezTo>
                    <a:cubicBezTo>
                      <a:pt x="19" y="62"/>
                      <a:pt x="16" y="62"/>
                      <a:pt x="14" y="63"/>
                    </a:cubicBezTo>
                    <a:cubicBezTo>
                      <a:pt x="12" y="63"/>
                      <a:pt x="9" y="64"/>
                      <a:pt x="8" y="63"/>
                    </a:cubicBezTo>
                    <a:cubicBezTo>
                      <a:pt x="8" y="59"/>
                      <a:pt x="8" y="55"/>
                      <a:pt x="8" y="52"/>
                    </a:cubicBezTo>
                    <a:cubicBezTo>
                      <a:pt x="8" y="50"/>
                      <a:pt x="9" y="47"/>
                      <a:pt x="8" y="45"/>
                    </a:cubicBezTo>
                    <a:cubicBezTo>
                      <a:pt x="6" y="42"/>
                      <a:pt x="1" y="42"/>
                      <a:pt x="0" y="39"/>
                    </a:cubicBezTo>
                    <a:cubicBezTo>
                      <a:pt x="0" y="38"/>
                      <a:pt x="18" y="2"/>
                      <a:pt x="20" y="0"/>
                    </a:cubicBezTo>
                    <a:cubicBezTo>
                      <a:pt x="21" y="0"/>
                      <a:pt x="23" y="14"/>
                      <a:pt x="28" y="15"/>
                    </a:cubicBezTo>
                    <a:cubicBezTo>
                      <a:pt x="40" y="5"/>
                      <a:pt x="40" y="5"/>
                      <a:pt x="40" y="5"/>
                    </a:cubicBezTo>
                    <a:cubicBezTo>
                      <a:pt x="49" y="5"/>
                      <a:pt x="47" y="19"/>
                      <a:pt x="52" y="22"/>
                    </a:cubicBezTo>
                    <a:cubicBezTo>
                      <a:pt x="53" y="23"/>
                      <a:pt x="54" y="22"/>
                      <a:pt x="55" y="22"/>
                    </a:cubicBezTo>
                    <a:cubicBezTo>
                      <a:pt x="56" y="21"/>
                      <a:pt x="57" y="21"/>
                      <a:pt x="58" y="21"/>
                    </a:cubicBezTo>
                    <a:cubicBezTo>
                      <a:pt x="62" y="23"/>
                      <a:pt x="66" y="24"/>
                      <a:pt x="69" y="27"/>
                    </a:cubicBezTo>
                    <a:cubicBezTo>
                      <a:pt x="79" y="39"/>
                      <a:pt x="72" y="51"/>
                      <a:pt x="73" y="63"/>
                    </a:cubicBezTo>
                    <a:cubicBezTo>
                      <a:pt x="73" y="67"/>
                      <a:pt x="76" y="70"/>
                      <a:pt x="76" y="73"/>
                    </a:cubicBezTo>
                    <a:cubicBezTo>
                      <a:pt x="76" y="75"/>
                      <a:pt x="71" y="75"/>
                      <a:pt x="72" y="77"/>
                    </a:cubicBezTo>
                    <a:cubicBezTo>
                      <a:pt x="72" y="81"/>
                      <a:pt x="78" y="83"/>
                      <a:pt x="78" y="87"/>
                    </a:cubicBezTo>
                    <a:cubicBezTo>
                      <a:pt x="79" y="89"/>
                      <a:pt x="76" y="90"/>
                      <a:pt x="76" y="92"/>
                    </a:cubicBezTo>
                    <a:cubicBezTo>
                      <a:pt x="76" y="97"/>
                      <a:pt x="90" y="118"/>
                      <a:pt x="92" y="121"/>
                    </a:cubicBezTo>
                    <a:cubicBezTo>
                      <a:pt x="96" y="125"/>
                      <a:pt x="98" y="119"/>
                      <a:pt x="100" y="119"/>
                    </a:cubicBezTo>
                    <a:cubicBezTo>
                      <a:pt x="102" y="118"/>
                      <a:pt x="105" y="119"/>
                      <a:pt x="107" y="120"/>
                    </a:cubicBezTo>
                    <a:cubicBezTo>
                      <a:pt x="108" y="121"/>
                      <a:pt x="106" y="124"/>
                      <a:pt x="107" y="124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6" name="Freeform 6"/>
              <p:cNvSpPr>
                <a:spLocks/>
              </p:cNvSpPr>
              <p:nvPr/>
            </p:nvSpPr>
            <p:spPr bwMode="auto">
              <a:xfrm>
                <a:off x="4284137" y="5627748"/>
                <a:ext cx="51834" cy="38229"/>
              </a:xfrm>
              <a:custGeom>
                <a:avLst/>
                <a:gdLst>
                  <a:gd name="T0" fmla="*/ 26 w 31"/>
                  <a:gd name="T1" fmla="*/ 15 h 22"/>
                  <a:gd name="T2" fmla="*/ 16 w 31"/>
                  <a:gd name="T3" fmla="*/ 1 h 22"/>
                  <a:gd name="T4" fmla="*/ 26 w 31"/>
                  <a:gd name="T5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2">
                    <a:moveTo>
                      <a:pt x="26" y="15"/>
                    </a:moveTo>
                    <a:cubicBezTo>
                      <a:pt x="0" y="22"/>
                      <a:pt x="14" y="1"/>
                      <a:pt x="16" y="1"/>
                    </a:cubicBezTo>
                    <a:cubicBezTo>
                      <a:pt x="30" y="0"/>
                      <a:pt x="31" y="7"/>
                      <a:pt x="26" y="1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7" name="Freeform 5"/>
              <p:cNvSpPr>
                <a:spLocks/>
              </p:cNvSpPr>
              <p:nvPr/>
            </p:nvSpPr>
            <p:spPr bwMode="auto">
              <a:xfrm>
                <a:off x="5587391" y="5299613"/>
                <a:ext cx="368761" cy="358400"/>
              </a:xfrm>
              <a:custGeom>
                <a:avLst/>
                <a:gdLst>
                  <a:gd name="T0" fmla="*/ 181 w 221"/>
                  <a:gd name="T1" fmla="*/ 130 h 199"/>
                  <a:gd name="T2" fmla="*/ 181 w 221"/>
                  <a:gd name="T3" fmla="*/ 130 h 199"/>
                  <a:gd name="T4" fmla="*/ 167 w 221"/>
                  <a:gd name="T5" fmla="*/ 157 h 199"/>
                  <a:gd name="T6" fmla="*/ 166 w 221"/>
                  <a:gd name="T7" fmla="*/ 190 h 199"/>
                  <a:gd name="T8" fmla="*/ 169 w 221"/>
                  <a:gd name="T9" fmla="*/ 199 h 199"/>
                  <a:gd name="T10" fmla="*/ 128 w 221"/>
                  <a:gd name="T11" fmla="*/ 169 h 199"/>
                  <a:gd name="T12" fmla="*/ 114 w 221"/>
                  <a:gd name="T13" fmla="*/ 169 h 199"/>
                  <a:gd name="T14" fmla="*/ 97 w 221"/>
                  <a:gd name="T15" fmla="*/ 143 h 199"/>
                  <a:gd name="T16" fmla="*/ 85 w 221"/>
                  <a:gd name="T17" fmla="*/ 129 h 199"/>
                  <a:gd name="T18" fmla="*/ 35 w 221"/>
                  <a:gd name="T19" fmla="*/ 82 h 199"/>
                  <a:gd name="T20" fmla="*/ 30 w 221"/>
                  <a:gd name="T21" fmla="*/ 83 h 199"/>
                  <a:gd name="T22" fmla="*/ 29 w 221"/>
                  <a:gd name="T23" fmla="*/ 68 h 199"/>
                  <a:gd name="T24" fmla="*/ 7 w 221"/>
                  <a:gd name="T25" fmla="*/ 42 h 199"/>
                  <a:gd name="T26" fmla="*/ 33 w 221"/>
                  <a:gd name="T27" fmla="*/ 23 h 199"/>
                  <a:gd name="T28" fmla="*/ 33 w 221"/>
                  <a:gd name="T29" fmla="*/ 23 h 199"/>
                  <a:gd name="T30" fmla="*/ 52 w 221"/>
                  <a:gd name="T31" fmla="*/ 6 h 199"/>
                  <a:gd name="T32" fmla="*/ 64 w 221"/>
                  <a:gd name="T33" fmla="*/ 0 h 199"/>
                  <a:gd name="T34" fmla="*/ 81 w 221"/>
                  <a:gd name="T35" fmla="*/ 7 h 199"/>
                  <a:gd name="T36" fmla="*/ 99 w 221"/>
                  <a:gd name="T37" fmla="*/ 8 h 199"/>
                  <a:gd name="T38" fmla="*/ 118 w 221"/>
                  <a:gd name="T39" fmla="*/ 8 h 199"/>
                  <a:gd name="T40" fmla="*/ 131 w 221"/>
                  <a:gd name="T41" fmla="*/ 7 h 199"/>
                  <a:gd name="T42" fmla="*/ 144 w 221"/>
                  <a:gd name="T43" fmla="*/ 3 h 199"/>
                  <a:gd name="T44" fmla="*/ 151 w 221"/>
                  <a:gd name="T45" fmla="*/ 3 h 199"/>
                  <a:gd name="T46" fmla="*/ 181 w 221"/>
                  <a:gd name="T47" fmla="*/ 16 h 199"/>
                  <a:gd name="T48" fmla="*/ 185 w 221"/>
                  <a:gd name="T49" fmla="*/ 53 h 199"/>
                  <a:gd name="T50" fmla="*/ 199 w 221"/>
                  <a:gd name="T51" fmla="*/ 60 h 199"/>
                  <a:gd name="T52" fmla="*/ 216 w 221"/>
                  <a:gd name="T53" fmla="*/ 76 h 199"/>
                  <a:gd name="T54" fmla="*/ 196 w 221"/>
                  <a:gd name="T55" fmla="*/ 79 h 199"/>
                  <a:gd name="T56" fmla="*/ 210 w 221"/>
                  <a:gd name="T57" fmla="*/ 109 h 199"/>
                  <a:gd name="T58" fmla="*/ 200 w 221"/>
                  <a:gd name="T59" fmla="*/ 116 h 199"/>
                  <a:gd name="T60" fmla="*/ 185 w 221"/>
                  <a:gd name="T61" fmla="*/ 117 h 199"/>
                  <a:gd name="T62" fmla="*/ 190 w 221"/>
                  <a:gd name="T63" fmla="*/ 138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21" h="199">
                    <a:moveTo>
                      <a:pt x="193" y="138"/>
                    </a:moveTo>
                    <a:cubicBezTo>
                      <a:pt x="187" y="134"/>
                      <a:pt x="187" y="130"/>
                      <a:pt x="181" y="130"/>
                    </a:cubicBezTo>
                    <a:cubicBezTo>
                      <a:pt x="182" y="129"/>
                      <a:pt x="182" y="129"/>
                      <a:pt x="182" y="129"/>
                    </a:cubicBezTo>
                    <a:cubicBezTo>
                      <a:pt x="181" y="130"/>
                      <a:pt x="181" y="130"/>
                      <a:pt x="181" y="130"/>
                    </a:cubicBezTo>
                    <a:cubicBezTo>
                      <a:pt x="173" y="139"/>
                      <a:pt x="174" y="152"/>
                      <a:pt x="172" y="155"/>
                    </a:cubicBezTo>
                    <a:cubicBezTo>
                      <a:pt x="170" y="158"/>
                      <a:pt x="168" y="157"/>
                      <a:pt x="167" y="157"/>
                    </a:cubicBezTo>
                    <a:cubicBezTo>
                      <a:pt x="166" y="157"/>
                      <a:pt x="165" y="156"/>
                      <a:pt x="164" y="161"/>
                    </a:cubicBezTo>
                    <a:cubicBezTo>
                      <a:pt x="161" y="177"/>
                      <a:pt x="179" y="178"/>
                      <a:pt x="166" y="190"/>
                    </a:cubicBezTo>
                    <a:cubicBezTo>
                      <a:pt x="168" y="190"/>
                      <a:pt x="168" y="190"/>
                      <a:pt x="168" y="190"/>
                    </a:cubicBezTo>
                    <a:cubicBezTo>
                      <a:pt x="169" y="199"/>
                      <a:pt x="169" y="199"/>
                      <a:pt x="169" y="199"/>
                    </a:cubicBezTo>
                    <a:cubicBezTo>
                      <a:pt x="162" y="182"/>
                      <a:pt x="151" y="188"/>
                      <a:pt x="137" y="178"/>
                    </a:cubicBezTo>
                    <a:cubicBezTo>
                      <a:pt x="133" y="175"/>
                      <a:pt x="132" y="170"/>
                      <a:pt x="128" y="169"/>
                    </a:cubicBezTo>
                    <a:cubicBezTo>
                      <a:pt x="125" y="168"/>
                      <a:pt x="122" y="171"/>
                      <a:pt x="119" y="171"/>
                    </a:cubicBezTo>
                    <a:cubicBezTo>
                      <a:pt x="117" y="171"/>
                      <a:pt x="113" y="171"/>
                      <a:pt x="114" y="169"/>
                    </a:cubicBezTo>
                    <a:cubicBezTo>
                      <a:pt x="115" y="167"/>
                      <a:pt x="120" y="167"/>
                      <a:pt x="120" y="164"/>
                    </a:cubicBezTo>
                    <a:cubicBezTo>
                      <a:pt x="123" y="157"/>
                      <a:pt x="99" y="147"/>
                      <a:pt x="97" y="143"/>
                    </a:cubicBezTo>
                    <a:cubicBezTo>
                      <a:pt x="94" y="140"/>
                      <a:pt x="96" y="135"/>
                      <a:pt x="94" y="131"/>
                    </a:cubicBezTo>
                    <a:cubicBezTo>
                      <a:pt x="92" y="129"/>
                      <a:pt x="88" y="130"/>
                      <a:pt x="85" y="129"/>
                    </a:cubicBezTo>
                    <a:cubicBezTo>
                      <a:pt x="73" y="121"/>
                      <a:pt x="66" y="108"/>
                      <a:pt x="56" y="99"/>
                    </a:cubicBezTo>
                    <a:cubicBezTo>
                      <a:pt x="52" y="97"/>
                      <a:pt x="39" y="84"/>
                      <a:pt x="35" y="82"/>
                    </a:cubicBezTo>
                    <a:cubicBezTo>
                      <a:pt x="35" y="82"/>
                      <a:pt x="34" y="82"/>
                      <a:pt x="33" y="83"/>
                    </a:cubicBezTo>
                    <a:cubicBezTo>
                      <a:pt x="32" y="83"/>
                      <a:pt x="31" y="83"/>
                      <a:pt x="30" y="83"/>
                    </a:cubicBezTo>
                    <a:cubicBezTo>
                      <a:pt x="27" y="80"/>
                      <a:pt x="34" y="74"/>
                      <a:pt x="34" y="73"/>
                    </a:cubicBezTo>
                    <a:cubicBezTo>
                      <a:pt x="33" y="70"/>
                      <a:pt x="30" y="70"/>
                      <a:pt x="29" y="68"/>
                    </a:cubicBezTo>
                    <a:cubicBezTo>
                      <a:pt x="24" y="61"/>
                      <a:pt x="22" y="52"/>
                      <a:pt x="16" y="47"/>
                    </a:cubicBezTo>
                    <a:cubicBezTo>
                      <a:pt x="14" y="44"/>
                      <a:pt x="9" y="44"/>
                      <a:pt x="7" y="42"/>
                    </a:cubicBezTo>
                    <a:cubicBezTo>
                      <a:pt x="4" y="40"/>
                      <a:pt x="0" y="7"/>
                      <a:pt x="13" y="8"/>
                    </a:cubicBezTo>
                    <a:cubicBezTo>
                      <a:pt x="18" y="8"/>
                      <a:pt x="28" y="20"/>
                      <a:pt x="33" y="23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40" y="22"/>
                      <a:pt x="39" y="12"/>
                      <a:pt x="42" y="7"/>
                    </a:cubicBezTo>
                    <a:cubicBezTo>
                      <a:pt x="46" y="3"/>
                      <a:pt x="49" y="4"/>
                      <a:pt x="52" y="6"/>
                    </a:cubicBezTo>
                    <a:cubicBezTo>
                      <a:pt x="54" y="7"/>
                      <a:pt x="56" y="8"/>
                      <a:pt x="59" y="7"/>
                    </a:cubicBezTo>
                    <a:cubicBezTo>
                      <a:pt x="61" y="6"/>
                      <a:pt x="61" y="2"/>
                      <a:pt x="64" y="0"/>
                    </a:cubicBezTo>
                    <a:cubicBezTo>
                      <a:pt x="64" y="0"/>
                      <a:pt x="67" y="4"/>
                      <a:pt x="77" y="6"/>
                    </a:cubicBezTo>
                    <a:cubicBezTo>
                      <a:pt x="78" y="7"/>
                      <a:pt x="80" y="8"/>
                      <a:pt x="81" y="7"/>
                    </a:cubicBezTo>
                    <a:cubicBezTo>
                      <a:pt x="82" y="7"/>
                      <a:pt x="83" y="5"/>
                      <a:pt x="85" y="4"/>
                    </a:cubicBezTo>
                    <a:cubicBezTo>
                      <a:pt x="88" y="4"/>
                      <a:pt x="93" y="6"/>
                      <a:pt x="99" y="8"/>
                    </a:cubicBezTo>
                    <a:cubicBezTo>
                      <a:pt x="104" y="10"/>
                      <a:pt x="110" y="12"/>
                      <a:pt x="114" y="11"/>
                    </a:cubicBezTo>
                    <a:cubicBezTo>
                      <a:pt x="116" y="11"/>
                      <a:pt x="118" y="10"/>
                      <a:pt x="118" y="8"/>
                    </a:cubicBezTo>
                    <a:cubicBezTo>
                      <a:pt x="120" y="7"/>
                      <a:pt x="119" y="3"/>
                      <a:pt x="121" y="3"/>
                    </a:cubicBezTo>
                    <a:cubicBezTo>
                      <a:pt x="125" y="2"/>
                      <a:pt x="127" y="6"/>
                      <a:pt x="131" y="7"/>
                    </a:cubicBezTo>
                    <a:cubicBezTo>
                      <a:pt x="137" y="9"/>
                      <a:pt x="129" y="4"/>
                      <a:pt x="133" y="3"/>
                    </a:cubicBezTo>
                    <a:cubicBezTo>
                      <a:pt x="136" y="2"/>
                      <a:pt x="140" y="2"/>
                      <a:pt x="144" y="3"/>
                    </a:cubicBezTo>
                    <a:cubicBezTo>
                      <a:pt x="146" y="4"/>
                      <a:pt x="147" y="7"/>
                      <a:pt x="150" y="7"/>
                    </a:cubicBezTo>
                    <a:cubicBezTo>
                      <a:pt x="151" y="7"/>
                      <a:pt x="150" y="3"/>
                      <a:pt x="151" y="3"/>
                    </a:cubicBezTo>
                    <a:cubicBezTo>
                      <a:pt x="164" y="4"/>
                      <a:pt x="161" y="18"/>
                      <a:pt x="167" y="19"/>
                    </a:cubicBezTo>
                    <a:cubicBezTo>
                      <a:pt x="173" y="19"/>
                      <a:pt x="177" y="18"/>
                      <a:pt x="181" y="16"/>
                    </a:cubicBezTo>
                    <a:cubicBezTo>
                      <a:pt x="185" y="14"/>
                      <a:pt x="189" y="12"/>
                      <a:pt x="194" y="13"/>
                    </a:cubicBezTo>
                    <a:cubicBezTo>
                      <a:pt x="194" y="30"/>
                      <a:pt x="184" y="42"/>
                      <a:pt x="185" y="53"/>
                    </a:cubicBezTo>
                    <a:cubicBezTo>
                      <a:pt x="187" y="61"/>
                      <a:pt x="189" y="60"/>
                      <a:pt x="192" y="59"/>
                    </a:cubicBezTo>
                    <a:cubicBezTo>
                      <a:pt x="194" y="59"/>
                      <a:pt x="196" y="58"/>
                      <a:pt x="199" y="60"/>
                    </a:cubicBezTo>
                    <a:cubicBezTo>
                      <a:pt x="204" y="62"/>
                      <a:pt x="205" y="69"/>
                      <a:pt x="210" y="72"/>
                    </a:cubicBezTo>
                    <a:cubicBezTo>
                      <a:pt x="212" y="73"/>
                      <a:pt x="218" y="71"/>
                      <a:pt x="216" y="76"/>
                    </a:cubicBezTo>
                    <a:cubicBezTo>
                      <a:pt x="214" y="83"/>
                      <a:pt x="208" y="81"/>
                      <a:pt x="203" y="79"/>
                    </a:cubicBezTo>
                    <a:cubicBezTo>
                      <a:pt x="200" y="78"/>
                      <a:pt x="197" y="77"/>
                      <a:pt x="196" y="79"/>
                    </a:cubicBezTo>
                    <a:cubicBezTo>
                      <a:pt x="196" y="79"/>
                      <a:pt x="221" y="103"/>
                      <a:pt x="214" y="110"/>
                    </a:cubicBezTo>
                    <a:cubicBezTo>
                      <a:pt x="213" y="111"/>
                      <a:pt x="212" y="110"/>
                      <a:pt x="210" y="109"/>
                    </a:cubicBezTo>
                    <a:cubicBezTo>
                      <a:pt x="209" y="108"/>
                      <a:pt x="208" y="107"/>
                      <a:pt x="206" y="107"/>
                    </a:cubicBezTo>
                    <a:cubicBezTo>
                      <a:pt x="203" y="108"/>
                      <a:pt x="202" y="113"/>
                      <a:pt x="200" y="116"/>
                    </a:cubicBezTo>
                    <a:cubicBezTo>
                      <a:pt x="199" y="116"/>
                      <a:pt x="196" y="116"/>
                      <a:pt x="193" y="116"/>
                    </a:cubicBezTo>
                    <a:cubicBezTo>
                      <a:pt x="189" y="116"/>
                      <a:pt x="185" y="116"/>
                      <a:pt x="185" y="117"/>
                    </a:cubicBezTo>
                    <a:cubicBezTo>
                      <a:pt x="183" y="125"/>
                      <a:pt x="197" y="126"/>
                      <a:pt x="193" y="138"/>
                    </a:cubicBezTo>
                    <a:cubicBezTo>
                      <a:pt x="190" y="138"/>
                      <a:pt x="190" y="138"/>
                      <a:pt x="190" y="138"/>
                    </a:cubicBezTo>
                    <a:cubicBezTo>
                      <a:pt x="193" y="138"/>
                      <a:pt x="193" y="138"/>
                      <a:pt x="193" y="138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38" name="Freeform 4"/>
              <p:cNvSpPr>
                <a:spLocks/>
              </p:cNvSpPr>
              <p:nvPr/>
            </p:nvSpPr>
            <p:spPr bwMode="auto">
              <a:xfrm>
                <a:off x="6064263" y="5607041"/>
                <a:ext cx="233993" cy="230969"/>
              </a:xfrm>
              <a:custGeom>
                <a:avLst/>
                <a:gdLst>
                  <a:gd name="T0" fmla="*/ 2 w 140"/>
                  <a:gd name="T1" fmla="*/ 54 h 128"/>
                  <a:gd name="T2" fmla="*/ 2 w 140"/>
                  <a:gd name="T3" fmla="*/ 66 h 128"/>
                  <a:gd name="T4" fmla="*/ 5 w 140"/>
                  <a:gd name="T5" fmla="*/ 76 h 128"/>
                  <a:gd name="T6" fmla="*/ 1 w 140"/>
                  <a:gd name="T7" fmla="*/ 80 h 128"/>
                  <a:gd name="T8" fmla="*/ 7 w 140"/>
                  <a:gd name="T9" fmla="*/ 90 h 128"/>
                  <a:gd name="T10" fmla="*/ 5 w 140"/>
                  <a:gd name="T11" fmla="*/ 95 h 128"/>
                  <a:gd name="T12" fmla="*/ 21 w 140"/>
                  <a:gd name="T13" fmla="*/ 124 h 128"/>
                  <a:gd name="T14" fmla="*/ 29 w 140"/>
                  <a:gd name="T15" fmla="*/ 122 h 128"/>
                  <a:gd name="T16" fmla="*/ 36 w 140"/>
                  <a:gd name="T17" fmla="*/ 123 h 128"/>
                  <a:gd name="T18" fmla="*/ 36 w 140"/>
                  <a:gd name="T19" fmla="*/ 127 h 128"/>
                  <a:gd name="T20" fmla="*/ 80 w 140"/>
                  <a:gd name="T21" fmla="*/ 114 h 128"/>
                  <a:gd name="T22" fmla="*/ 93 w 140"/>
                  <a:gd name="T23" fmla="*/ 94 h 128"/>
                  <a:gd name="T24" fmla="*/ 107 w 140"/>
                  <a:gd name="T25" fmla="*/ 94 h 128"/>
                  <a:gd name="T26" fmla="*/ 123 w 140"/>
                  <a:gd name="T27" fmla="*/ 93 h 128"/>
                  <a:gd name="T28" fmla="*/ 126 w 140"/>
                  <a:gd name="T29" fmla="*/ 87 h 128"/>
                  <a:gd name="T30" fmla="*/ 127 w 140"/>
                  <a:gd name="T31" fmla="*/ 88 h 128"/>
                  <a:gd name="T32" fmla="*/ 130 w 140"/>
                  <a:gd name="T33" fmla="*/ 89 h 128"/>
                  <a:gd name="T34" fmla="*/ 139 w 140"/>
                  <a:gd name="T35" fmla="*/ 72 h 128"/>
                  <a:gd name="T36" fmla="*/ 140 w 140"/>
                  <a:gd name="T37" fmla="*/ 72 h 128"/>
                  <a:gd name="T38" fmla="*/ 139 w 140"/>
                  <a:gd name="T39" fmla="*/ 41 h 128"/>
                  <a:gd name="T40" fmla="*/ 123 w 140"/>
                  <a:gd name="T41" fmla="*/ 22 h 128"/>
                  <a:gd name="T42" fmla="*/ 113 w 140"/>
                  <a:gd name="T43" fmla="*/ 20 h 128"/>
                  <a:gd name="T44" fmla="*/ 97 w 140"/>
                  <a:gd name="T45" fmla="*/ 7 h 128"/>
                  <a:gd name="T46" fmla="*/ 62 w 140"/>
                  <a:gd name="T47" fmla="*/ 19 h 128"/>
                  <a:gd name="T48" fmla="*/ 54 w 140"/>
                  <a:gd name="T49" fmla="*/ 19 h 128"/>
                  <a:gd name="T50" fmla="*/ 42 w 140"/>
                  <a:gd name="T51" fmla="*/ 26 h 128"/>
                  <a:gd name="T52" fmla="*/ 43 w 140"/>
                  <a:gd name="T53" fmla="*/ 32 h 128"/>
                  <a:gd name="T54" fmla="*/ 34 w 140"/>
                  <a:gd name="T55" fmla="*/ 28 h 128"/>
                  <a:gd name="T56" fmla="*/ 14 w 140"/>
                  <a:gd name="T57" fmla="*/ 38 h 128"/>
                  <a:gd name="T58" fmla="*/ 4 w 140"/>
                  <a:gd name="T59" fmla="*/ 54 h 128"/>
                  <a:gd name="T60" fmla="*/ 2 w 140"/>
                  <a:gd name="T61" fmla="*/ 5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0" h="128">
                    <a:moveTo>
                      <a:pt x="2" y="54"/>
                    </a:moveTo>
                    <a:cubicBezTo>
                      <a:pt x="2" y="58"/>
                      <a:pt x="1" y="62"/>
                      <a:pt x="2" y="66"/>
                    </a:cubicBezTo>
                    <a:cubicBezTo>
                      <a:pt x="2" y="70"/>
                      <a:pt x="5" y="73"/>
                      <a:pt x="5" y="76"/>
                    </a:cubicBezTo>
                    <a:cubicBezTo>
                      <a:pt x="5" y="78"/>
                      <a:pt x="0" y="78"/>
                      <a:pt x="1" y="80"/>
                    </a:cubicBezTo>
                    <a:cubicBezTo>
                      <a:pt x="1" y="84"/>
                      <a:pt x="7" y="86"/>
                      <a:pt x="7" y="90"/>
                    </a:cubicBezTo>
                    <a:cubicBezTo>
                      <a:pt x="8" y="92"/>
                      <a:pt x="5" y="93"/>
                      <a:pt x="5" y="95"/>
                    </a:cubicBezTo>
                    <a:cubicBezTo>
                      <a:pt x="5" y="100"/>
                      <a:pt x="19" y="121"/>
                      <a:pt x="21" y="124"/>
                    </a:cubicBezTo>
                    <a:cubicBezTo>
                      <a:pt x="25" y="128"/>
                      <a:pt x="27" y="122"/>
                      <a:pt x="29" y="122"/>
                    </a:cubicBezTo>
                    <a:cubicBezTo>
                      <a:pt x="31" y="121"/>
                      <a:pt x="34" y="122"/>
                      <a:pt x="36" y="123"/>
                    </a:cubicBezTo>
                    <a:cubicBezTo>
                      <a:pt x="37" y="124"/>
                      <a:pt x="35" y="127"/>
                      <a:pt x="36" y="127"/>
                    </a:cubicBezTo>
                    <a:cubicBezTo>
                      <a:pt x="40" y="127"/>
                      <a:pt x="78" y="116"/>
                      <a:pt x="80" y="114"/>
                    </a:cubicBezTo>
                    <a:cubicBezTo>
                      <a:pt x="87" y="107"/>
                      <a:pt x="82" y="98"/>
                      <a:pt x="93" y="94"/>
                    </a:cubicBezTo>
                    <a:cubicBezTo>
                      <a:pt x="95" y="93"/>
                      <a:pt x="101" y="93"/>
                      <a:pt x="107" y="94"/>
                    </a:cubicBezTo>
                    <a:cubicBezTo>
                      <a:pt x="114" y="94"/>
                      <a:pt x="121" y="94"/>
                      <a:pt x="123" y="93"/>
                    </a:cubicBezTo>
                    <a:cubicBezTo>
                      <a:pt x="124" y="92"/>
                      <a:pt x="124" y="88"/>
                      <a:pt x="126" y="87"/>
                    </a:cubicBezTo>
                    <a:cubicBezTo>
                      <a:pt x="126" y="87"/>
                      <a:pt x="127" y="88"/>
                      <a:pt x="127" y="88"/>
                    </a:cubicBezTo>
                    <a:cubicBezTo>
                      <a:pt x="128" y="89"/>
                      <a:pt x="129" y="90"/>
                      <a:pt x="130" y="89"/>
                    </a:cubicBezTo>
                    <a:cubicBezTo>
                      <a:pt x="136" y="84"/>
                      <a:pt x="121" y="75"/>
                      <a:pt x="139" y="72"/>
                    </a:cubicBezTo>
                    <a:cubicBezTo>
                      <a:pt x="140" y="72"/>
                      <a:pt x="140" y="72"/>
                      <a:pt x="140" y="72"/>
                    </a:cubicBezTo>
                    <a:cubicBezTo>
                      <a:pt x="140" y="65"/>
                      <a:pt x="139" y="41"/>
                      <a:pt x="139" y="41"/>
                    </a:cubicBezTo>
                    <a:cubicBezTo>
                      <a:pt x="135" y="37"/>
                      <a:pt x="128" y="26"/>
                      <a:pt x="123" y="22"/>
                    </a:cubicBezTo>
                    <a:cubicBezTo>
                      <a:pt x="121" y="20"/>
                      <a:pt x="117" y="22"/>
                      <a:pt x="113" y="20"/>
                    </a:cubicBezTo>
                    <a:cubicBezTo>
                      <a:pt x="112" y="20"/>
                      <a:pt x="97" y="8"/>
                      <a:pt x="97" y="7"/>
                    </a:cubicBezTo>
                    <a:cubicBezTo>
                      <a:pt x="89" y="0"/>
                      <a:pt x="71" y="18"/>
                      <a:pt x="62" y="19"/>
                    </a:cubicBezTo>
                    <a:cubicBezTo>
                      <a:pt x="59" y="20"/>
                      <a:pt x="56" y="19"/>
                      <a:pt x="54" y="19"/>
                    </a:cubicBezTo>
                    <a:cubicBezTo>
                      <a:pt x="49" y="18"/>
                      <a:pt x="45" y="18"/>
                      <a:pt x="42" y="26"/>
                    </a:cubicBezTo>
                    <a:cubicBezTo>
                      <a:pt x="41" y="28"/>
                      <a:pt x="44" y="30"/>
                      <a:pt x="43" y="32"/>
                    </a:cubicBezTo>
                    <a:cubicBezTo>
                      <a:pt x="42" y="35"/>
                      <a:pt x="37" y="28"/>
                      <a:pt x="34" y="28"/>
                    </a:cubicBezTo>
                    <a:cubicBezTo>
                      <a:pt x="27" y="29"/>
                      <a:pt x="20" y="34"/>
                      <a:pt x="14" y="38"/>
                    </a:cubicBezTo>
                    <a:cubicBezTo>
                      <a:pt x="10" y="40"/>
                      <a:pt x="18" y="64"/>
                      <a:pt x="4" y="54"/>
                    </a:cubicBezTo>
                    <a:cubicBezTo>
                      <a:pt x="2" y="54"/>
                      <a:pt x="2" y="54"/>
                      <a:pt x="2" y="54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grpSp>
            <p:nvGrpSpPr>
              <p:cNvPr id="139" name="Freeform 3"/>
              <p:cNvGrpSpPr/>
              <p:nvPr/>
            </p:nvGrpSpPr>
            <p:grpSpPr>
              <a:xfrm>
                <a:off x="5781397" y="1022713"/>
                <a:ext cx="3173723" cy="3956731"/>
                <a:chOff x="5781397" y="1022713"/>
                <a:chExt cx="3173723" cy="3956731"/>
              </a:xfrm>
            </p:grpSpPr>
            <p:sp>
              <p:nvSpPr>
                <p:cNvPr id="142" name="Freeform 95"/>
                <p:cNvSpPr>
                  <a:spLocks noEditPoints="1"/>
                </p:cNvSpPr>
                <p:nvPr/>
              </p:nvSpPr>
              <p:spPr bwMode="auto">
                <a:xfrm>
                  <a:off x="5902838" y="1022713"/>
                  <a:ext cx="3052282" cy="3956731"/>
                </a:xfrm>
                <a:custGeom>
                  <a:avLst/>
                  <a:gdLst>
                    <a:gd name="T0" fmla="*/ 1299 w 1825"/>
                    <a:gd name="T1" fmla="*/ 2163 h 2198"/>
                    <a:gd name="T2" fmla="*/ 1073 w 1825"/>
                    <a:gd name="T3" fmla="*/ 2192 h 2198"/>
                    <a:gd name="T4" fmla="*/ 910 w 1825"/>
                    <a:gd name="T5" fmla="*/ 2118 h 2198"/>
                    <a:gd name="T6" fmla="*/ 931 w 1825"/>
                    <a:gd name="T7" fmla="*/ 2038 h 2198"/>
                    <a:gd name="T8" fmla="*/ 935 w 1825"/>
                    <a:gd name="T9" fmla="*/ 1958 h 2198"/>
                    <a:gd name="T10" fmla="*/ 952 w 1825"/>
                    <a:gd name="T11" fmla="*/ 1863 h 2198"/>
                    <a:gd name="T12" fmla="*/ 870 w 1825"/>
                    <a:gd name="T13" fmla="*/ 1767 h 2198"/>
                    <a:gd name="T14" fmla="*/ 682 w 1825"/>
                    <a:gd name="T15" fmla="*/ 1781 h 2198"/>
                    <a:gd name="T16" fmla="*/ 601 w 1825"/>
                    <a:gd name="T17" fmla="*/ 1728 h 2198"/>
                    <a:gd name="T18" fmla="*/ 477 w 1825"/>
                    <a:gd name="T19" fmla="*/ 1720 h 2198"/>
                    <a:gd name="T20" fmla="*/ 451 w 1825"/>
                    <a:gd name="T21" fmla="*/ 1612 h 2198"/>
                    <a:gd name="T22" fmla="*/ 284 w 1825"/>
                    <a:gd name="T23" fmla="*/ 1495 h 2198"/>
                    <a:gd name="T24" fmla="*/ 199 w 1825"/>
                    <a:gd name="T25" fmla="*/ 1377 h 2198"/>
                    <a:gd name="T26" fmla="*/ 208 w 1825"/>
                    <a:gd name="T27" fmla="*/ 1219 h 2198"/>
                    <a:gd name="T28" fmla="*/ 230 w 1825"/>
                    <a:gd name="T29" fmla="*/ 979 h 2198"/>
                    <a:gd name="T30" fmla="*/ 45 w 1825"/>
                    <a:gd name="T31" fmla="*/ 622 h 2198"/>
                    <a:gd name="T32" fmla="*/ 82 w 1825"/>
                    <a:gd name="T33" fmla="*/ 475 h 2198"/>
                    <a:gd name="T34" fmla="*/ 185 w 1825"/>
                    <a:gd name="T35" fmla="*/ 486 h 2198"/>
                    <a:gd name="T36" fmla="*/ 365 w 1825"/>
                    <a:gd name="T37" fmla="*/ 544 h 2198"/>
                    <a:gd name="T38" fmla="*/ 192 w 1825"/>
                    <a:gd name="T39" fmla="*/ 680 h 2198"/>
                    <a:gd name="T40" fmla="*/ 253 w 1825"/>
                    <a:gd name="T41" fmla="*/ 729 h 2198"/>
                    <a:gd name="T42" fmla="*/ 390 w 1825"/>
                    <a:gd name="T43" fmla="*/ 834 h 2198"/>
                    <a:gd name="T44" fmla="*/ 425 w 1825"/>
                    <a:gd name="T45" fmla="*/ 756 h 2198"/>
                    <a:gd name="T46" fmla="*/ 506 w 1825"/>
                    <a:gd name="T47" fmla="*/ 605 h 2198"/>
                    <a:gd name="T48" fmla="*/ 400 w 1825"/>
                    <a:gd name="T49" fmla="*/ 434 h 2198"/>
                    <a:gd name="T50" fmla="*/ 545 w 1825"/>
                    <a:gd name="T51" fmla="*/ 489 h 2198"/>
                    <a:gd name="T52" fmla="*/ 554 w 1825"/>
                    <a:gd name="T53" fmla="*/ 382 h 2198"/>
                    <a:gd name="T54" fmla="*/ 581 w 1825"/>
                    <a:gd name="T55" fmla="*/ 308 h 2198"/>
                    <a:gd name="T56" fmla="*/ 646 w 1825"/>
                    <a:gd name="T57" fmla="*/ 276 h 2198"/>
                    <a:gd name="T58" fmla="*/ 735 w 1825"/>
                    <a:gd name="T59" fmla="*/ 198 h 2198"/>
                    <a:gd name="T60" fmla="*/ 834 w 1825"/>
                    <a:gd name="T61" fmla="*/ 31 h 2198"/>
                    <a:gd name="T62" fmla="*/ 1034 w 1825"/>
                    <a:gd name="T63" fmla="*/ 17 h 2198"/>
                    <a:gd name="T64" fmla="*/ 1012 w 1825"/>
                    <a:gd name="T65" fmla="*/ 55 h 2198"/>
                    <a:gd name="T66" fmla="*/ 1801 w 1825"/>
                    <a:gd name="T67" fmla="*/ 619 h 2198"/>
                    <a:gd name="T68" fmla="*/ 1680 w 1825"/>
                    <a:gd name="T69" fmla="*/ 644 h 2198"/>
                    <a:gd name="T70" fmla="*/ 1626 w 1825"/>
                    <a:gd name="T71" fmla="*/ 793 h 2198"/>
                    <a:gd name="T72" fmla="*/ 1565 w 1825"/>
                    <a:gd name="T73" fmla="*/ 916 h 2198"/>
                    <a:gd name="T74" fmla="*/ 1563 w 1825"/>
                    <a:gd name="T75" fmla="*/ 981 h 2198"/>
                    <a:gd name="T76" fmla="*/ 1608 w 1825"/>
                    <a:gd name="T77" fmla="*/ 1056 h 2198"/>
                    <a:gd name="T78" fmla="*/ 1637 w 1825"/>
                    <a:gd name="T79" fmla="*/ 1204 h 2198"/>
                    <a:gd name="T80" fmla="*/ 1559 w 1825"/>
                    <a:gd name="T81" fmla="*/ 1225 h 2198"/>
                    <a:gd name="T82" fmla="*/ 1525 w 1825"/>
                    <a:gd name="T83" fmla="*/ 1266 h 2198"/>
                    <a:gd name="T84" fmla="*/ 1493 w 1825"/>
                    <a:gd name="T85" fmla="*/ 1323 h 2198"/>
                    <a:gd name="T86" fmla="*/ 1404 w 1825"/>
                    <a:gd name="T87" fmla="*/ 1337 h 2198"/>
                    <a:gd name="T88" fmla="*/ 1273 w 1825"/>
                    <a:gd name="T89" fmla="*/ 1426 h 2198"/>
                    <a:gd name="T90" fmla="*/ 1199 w 1825"/>
                    <a:gd name="T91" fmla="*/ 1569 h 2198"/>
                    <a:gd name="T92" fmla="*/ 1294 w 1825"/>
                    <a:gd name="T93" fmla="*/ 1732 h 2198"/>
                    <a:gd name="T94" fmla="*/ 1423 w 1825"/>
                    <a:gd name="T95" fmla="*/ 1786 h 2198"/>
                    <a:gd name="T96" fmla="*/ 1373 w 1825"/>
                    <a:gd name="T97" fmla="*/ 1853 h 2198"/>
                    <a:gd name="T98" fmla="*/ 1378 w 1825"/>
                    <a:gd name="T99" fmla="*/ 1873 h 2198"/>
                    <a:gd name="T100" fmla="*/ 1378 w 1825"/>
                    <a:gd name="T101" fmla="*/ 1936 h 2198"/>
                    <a:gd name="T102" fmla="*/ 1472 w 1825"/>
                    <a:gd name="T103" fmla="*/ 2042 h 2198"/>
                    <a:gd name="T104" fmla="*/ 1491 w 1825"/>
                    <a:gd name="T105" fmla="*/ 2147 h 2198"/>
                    <a:gd name="T106" fmla="*/ 300 w 1825"/>
                    <a:gd name="T107" fmla="*/ 1180 h 2198"/>
                    <a:gd name="T108" fmla="*/ 446 w 1825"/>
                    <a:gd name="T109" fmla="*/ 0 h 2198"/>
                    <a:gd name="T110" fmla="*/ 415 w 1825"/>
                    <a:gd name="T111" fmla="*/ 77 h 2198"/>
                    <a:gd name="T112" fmla="*/ 479 w 1825"/>
                    <a:gd name="T113" fmla="*/ 132 h 2198"/>
                    <a:gd name="T114" fmla="*/ 581 w 1825"/>
                    <a:gd name="T115" fmla="*/ 97 h 2198"/>
                    <a:gd name="T116" fmla="*/ 643 w 1825"/>
                    <a:gd name="T117" fmla="*/ 93 h 2198"/>
                    <a:gd name="T118" fmla="*/ 499 w 1825"/>
                    <a:gd name="T119" fmla="*/ 352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825" h="2198">
                      <a:moveTo>
                        <a:pt x="1462" y="2136"/>
                      </a:moveTo>
                      <a:cubicBezTo>
                        <a:pt x="1460" y="2137"/>
                        <a:pt x="1458" y="2139"/>
                        <a:pt x="1457" y="2139"/>
                      </a:cubicBezTo>
                      <a:cubicBezTo>
                        <a:pt x="1454" y="2139"/>
                        <a:pt x="1447" y="2143"/>
                        <a:pt x="1444" y="2142"/>
                      </a:cubicBezTo>
                      <a:cubicBezTo>
                        <a:pt x="1442" y="2142"/>
                        <a:pt x="1440" y="2140"/>
                        <a:pt x="1438" y="2140"/>
                      </a:cubicBezTo>
                      <a:cubicBezTo>
                        <a:pt x="1438" y="2140"/>
                        <a:pt x="1424" y="2146"/>
                        <a:pt x="1423" y="2146"/>
                      </a:cubicBezTo>
                      <a:cubicBezTo>
                        <a:pt x="1422" y="2146"/>
                        <a:pt x="1421" y="2143"/>
                        <a:pt x="1418" y="2142"/>
                      </a:cubicBezTo>
                      <a:cubicBezTo>
                        <a:pt x="1416" y="2141"/>
                        <a:pt x="1413" y="2142"/>
                        <a:pt x="1411" y="2142"/>
                      </a:cubicBezTo>
                      <a:cubicBezTo>
                        <a:pt x="1408" y="2142"/>
                        <a:pt x="1406" y="2142"/>
                        <a:pt x="1403" y="2142"/>
                      </a:cubicBezTo>
                      <a:cubicBezTo>
                        <a:pt x="1402" y="2142"/>
                        <a:pt x="1401" y="2143"/>
                        <a:pt x="1401" y="2142"/>
                      </a:cubicBezTo>
                      <a:cubicBezTo>
                        <a:pt x="1400" y="2139"/>
                        <a:pt x="1403" y="2120"/>
                        <a:pt x="1397" y="2120"/>
                      </a:cubicBezTo>
                      <a:cubicBezTo>
                        <a:pt x="1393" y="2120"/>
                        <a:pt x="1389" y="2120"/>
                        <a:pt x="1386" y="2122"/>
                      </a:cubicBezTo>
                      <a:cubicBezTo>
                        <a:pt x="1383" y="2123"/>
                        <a:pt x="1382" y="2128"/>
                        <a:pt x="1378" y="2128"/>
                      </a:cubicBezTo>
                      <a:cubicBezTo>
                        <a:pt x="1366" y="2128"/>
                        <a:pt x="1367" y="2120"/>
                        <a:pt x="1350" y="2123"/>
                      </a:cubicBezTo>
                      <a:cubicBezTo>
                        <a:pt x="1345" y="2124"/>
                        <a:pt x="1352" y="2134"/>
                        <a:pt x="1348" y="2137"/>
                      </a:cubicBezTo>
                      <a:cubicBezTo>
                        <a:pt x="1344" y="2140"/>
                        <a:pt x="1339" y="2130"/>
                        <a:pt x="1333" y="2132"/>
                      </a:cubicBezTo>
                      <a:cubicBezTo>
                        <a:pt x="1316" y="2140"/>
                        <a:pt x="1322" y="2163"/>
                        <a:pt x="1299" y="2163"/>
                      </a:cubicBezTo>
                      <a:cubicBezTo>
                        <a:pt x="1291" y="2163"/>
                        <a:pt x="1301" y="2152"/>
                        <a:pt x="1297" y="2152"/>
                      </a:cubicBezTo>
                      <a:cubicBezTo>
                        <a:pt x="1284" y="2152"/>
                        <a:pt x="1269" y="2156"/>
                        <a:pt x="1256" y="2155"/>
                      </a:cubicBezTo>
                      <a:cubicBezTo>
                        <a:pt x="1254" y="2154"/>
                        <a:pt x="1251" y="2153"/>
                        <a:pt x="1249" y="2152"/>
                      </a:cubicBezTo>
                      <a:cubicBezTo>
                        <a:pt x="1247" y="2151"/>
                        <a:pt x="1248" y="2149"/>
                        <a:pt x="1247" y="2148"/>
                      </a:cubicBezTo>
                      <a:cubicBezTo>
                        <a:pt x="1238" y="2146"/>
                        <a:pt x="1228" y="2154"/>
                        <a:pt x="1228" y="2154"/>
                      </a:cubicBezTo>
                      <a:cubicBezTo>
                        <a:pt x="1224" y="2155"/>
                        <a:pt x="1219" y="2153"/>
                        <a:pt x="1215" y="2153"/>
                      </a:cubicBezTo>
                      <a:cubicBezTo>
                        <a:pt x="1182" y="2161"/>
                        <a:pt x="1214" y="2156"/>
                        <a:pt x="1199" y="2165"/>
                      </a:cubicBezTo>
                      <a:cubicBezTo>
                        <a:pt x="1199" y="2165"/>
                        <a:pt x="1174" y="2175"/>
                        <a:pt x="1174" y="2175"/>
                      </a:cubicBezTo>
                      <a:cubicBezTo>
                        <a:pt x="1169" y="2175"/>
                        <a:pt x="1165" y="2170"/>
                        <a:pt x="1161" y="2170"/>
                      </a:cubicBezTo>
                      <a:cubicBezTo>
                        <a:pt x="1159" y="2170"/>
                        <a:pt x="1144" y="2176"/>
                        <a:pt x="1143" y="2176"/>
                      </a:cubicBezTo>
                      <a:cubicBezTo>
                        <a:pt x="1136" y="2178"/>
                        <a:pt x="1129" y="2170"/>
                        <a:pt x="1121" y="2172"/>
                      </a:cubicBezTo>
                      <a:cubicBezTo>
                        <a:pt x="1118" y="2173"/>
                        <a:pt x="1117" y="2176"/>
                        <a:pt x="1114" y="2178"/>
                      </a:cubicBezTo>
                      <a:cubicBezTo>
                        <a:pt x="1097" y="2186"/>
                        <a:pt x="1091" y="2171"/>
                        <a:pt x="1091" y="2198"/>
                      </a:cubicBezTo>
                      <a:cubicBezTo>
                        <a:pt x="1084" y="2197"/>
                        <a:pt x="1084" y="2197"/>
                        <a:pt x="1084" y="2197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73" y="2192"/>
                        <a:pt x="1073" y="2192"/>
                        <a:pt x="1073" y="2192"/>
                      </a:cubicBezTo>
                      <a:cubicBezTo>
                        <a:pt x="1062" y="2189"/>
                        <a:pt x="1052" y="2182"/>
                        <a:pt x="1042" y="2177"/>
                      </a:cubicBezTo>
                      <a:cubicBezTo>
                        <a:pt x="1032" y="2173"/>
                        <a:pt x="1007" y="2162"/>
                        <a:pt x="997" y="2163"/>
                      </a:cubicBezTo>
                      <a:cubicBezTo>
                        <a:pt x="990" y="2163"/>
                        <a:pt x="983" y="2170"/>
                        <a:pt x="976" y="2168"/>
                      </a:cubicBezTo>
                      <a:cubicBezTo>
                        <a:pt x="971" y="2166"/>
                        <a:pt x="949" y="2150"/>
                        <a:pt x="946" y="2152"/>
                      </a:cubicBezTo>
                      <a:cubicBezTo>
                        <a:pt x="944" y="2153"/>
                        <a:pt x="952" y="2156"/>
                        <a:pt x="950" y="2158"/>
                      </a:cubicBezTo>
                      <a:cubicBezTo>
                        <a:pt x="950" y="2159"/>
                        <a:pt x="934" y="2162"/>
                        <a:pt x="933" y="2162"/>
                      </a:cubicBezTo>
                      <a:cubicBezTo>
                        <a:pt x="924" y="2163"/>
                        <a:pt x="920" y="2149"/>
                        <a:pt x="911" y="2146"/>
                      </a:cubicBezTo>
                      <a:cubicBezTo>
                        <a:pt x="899" y="2141"/>
                        <a:pt x="887" y="2150"/>
                        <a:pt x="876" y="2144"/>
                      </a:cubicBezTo>
                      <a:cubicBezTo>
                        <a:pt x="867" y="2139"/>
                        <a:pt x="901" y="2135"/>
                        <a:pt x="892" y="2127"/>
                      </a:cubicBezTo>
                      <a:cubicBezTo>
                        <a:pt x="889" y="2125"/>
                        <a:pt x="886" y="2133"/>
                        <a:pt x="883" y="2132"/>
                      </a:cubicBezTo>
                      <a:cubicBezTo>
                        <a:pt x="880" y="2130"/>
                        <a:pt x="880" y="2124"/>
                        <a:pt x="882" y="2122"/>
                      </a:cubicBezTo>
                      <a:cubicBezTo>
                        <a:pt x="884" y="2119"/>
                        <a:pt x="888" y="2122"/>
                        <a:pt x="890" y="2122"/>
                      </a:cubicBezTo>
                      <a:cubicBezTo>
                        <a:pt x="893" y="2122"/>
                        <a:pt x="897" y="2122"/>
                        <a:pt x="899" y="2123"/>
                      </a:cubicBezTo>
                      <a:cubicBezTo>
                        <a:pt x="900" y="2123"/>
                        <a:pt x="897" y="2126"/>
                        <a:pt x="898" y="2126"/>
                      </a:cubicBezTo>
                      <a:cubicBezTo>
                        <a:pt x="899" y="2125"/>
                        <a:pt x="899" y="2123"/>
                        <a:pt x="901" y="2122"/>
                      </a:cubicBezTo>
                      <a:cubicBezTo>
                        <a:pt x="903" y="2120"/>
                        <a:pt x="907" y="2119"/>
                        <a:pt x="910" y="2118"/>
                      </a:cubicBezTo>
                      <a:cubicBezTo>
                        <a:pt x="911" y="2118"/>
                        <a:pt x="911" y="2120"/>
                        <a:pt x="912" y="2120"/>
                      </a:cubicBezTo>
                      <a:cubicBezTo>
                        <a:pt x="914" y="2118"/>
                        <a:pt x="914" y="2114"/>
                        <a:pt x="916" y="2113"/>
                      </a:cubicBezTo>
                      <a:cubicBezTo>
                        <a:pt x="920" y="2111"/>
                        <a:pt x="925" y="2114"/>
                        <a:pt x="929" y="2113"/>
                      </a:cubicBezTo>
                      <a:cubicBezTo>
                        <a:pt x="930" y="2113"/>
                        <a:pt x="927" y="2113"/>
                        <a:pt x="927" y="2111"/>
                      </a:cubicBezTo>
                      <a:cubicBezTo>
                        <a:pt x="926" y="2110"/>
                        <a:pt x="928" y="2107"/>
                        <a:pt x="928" y="2106"/>
                      </a:cubicBezTo>
                      <a:cubicBezTo>
                        <a:pt x="927" y="2102"/>
                        <a:pt x="915" y="2097"/>
                        <a:pt x="913" y="2093"/>
                      </a:cubicBezTo>
                      <a:cubicBezTo>
                        <a:pt x="910" y="2088"/>
                        <a:pt x="918" y="2095"/>
                        <a:pt x="919" y="2092"/>
                      </a:cubicBezTo>
                      <a:cubicBezTo>
                        <a:pt x="919" y="2090"/>
                        <a:pt x="916" y="2090"/>
                        <a:pt x="916" y="2089"/>
                      </a:cubicBezTo>
                      <a:cubicBezTo>
                        <a:pt x="916" y="2085"/>
                        <a:pt x="920" y="2083"/>
                        <a:pt x="922" y="2079"/>
                      </a:cubicBezTo>
                      <a:cubicBezTo>
                        <a:pt x="924" y="2073"/>
                        <a:pt x="916" y="2062"/>
                        <a:pt x="919" y="2058"/>
                      </a:cubicBezTo>
                      <a:cubicBezTo>
                        <a:pt x="928" y="2048"/>
                        <a:pt x="924" y="2058"/>
                        <a:pt x="931" y="2071"/>
                      </a:cubicBezTo>
                      <a:cubicBezTo>
                        <a:pt x="931" y="2072"/>
                        <a:pt x="930" y="2067"/>
                        <a:pt x="930" y="2066"/>
                      </a:cubicBezTo>
                      <a:cubicBezTo>
                        <a:pt x="930" y="2065"/>
                        <a:pt x="926" y="2047"/>
                        <a:pt x="931" y="2045"/>
                      </a:cubicBezTo>
                      <a:cubicBezTo>
                        <a:pt x="935" y="2044"/>
                        <a:pt x="945" y="2053"/>
                        <a:pt x="949" y="2045"/>
                      </a:cubicBezTo>
                      <a:cubicBezTo>
                        <a:pt x="950" y="2044"/>
                        <a:pt x="949" y="2042"/>
                        <a:pt x="947" y="2041"/>
                      </a:cubicBezTo>
                      <a:cubicBezTo>
                        <a:pt x="942" y="2038"/>
                        <a:pt x="936" y="2040"/>
                        <a:pt x="931" y="2038"/>
                      </a:cubicBezTo>
                      <a:cubicBezTo>
                        <a:pt x="928" y="2036"/>
                        <a:pt x="925" y="2032"/>
                        <a:pt x="922" y="2032"/>
                      </a:cubicBezTo>
                      <a:cubicBezTo>
                        <a:pt x="906" y="2028"/>
                        <a:pt x="907" y="2037"/>
                        <a:pt x="897" y="2024"/>
                      </a:cubicBezTo>
                      <a:cubicBezTo>
                        <a:pt x="895" y="2021"/>
                        <a:pt x="892" y="2020"/>
                        <a:pt x="893" y="2018"/>
                      </a:cubicBezTo>
                      <a:cubicBezTo>
                        <a:pt x="894" y="2016"/>
                        <a:pt x="897" y="2019"/>
                        <a:pt x="899" y="2019"/>
                      </a:cubicBezTo>
                      <a:cubicBezTo>
                        <a:pt x="902" y="2019"/>
                        <a:pt x="905" y="2017"/>
                        <a:pt x="907" y="2016"/>
                      </a:cubicBezTo>
                      <a:cubicBezTo>
                        <a:pt x="911" y="2012"/>
                        <a:pt x="911" y="2005"/>
                        <a:pt x="916" y="2003"/>
                      </a:cubicBezTo>
                      <a:cubicBezTo>
                        <a:pt x="917" y="2002"/>
                        <a:pt x="918" y="2005"/>
                        <a:pt x="919" y="2006"/>
                      </a:cubicBezTo>
                      <a:cubicBezTo>
                        <a:pt x="921" y="2007"/>
                        <a:pt x="935" y="2007"/>
                        <a:pt x="933" y="2002"/>
                      </a:cubicBezTo>
                      <a:cubicBezTo>
                        <a:pt x="932" y="1999"/>
                        <a:pt x="925" y="2004"/>
                        <a:pt x="922" y="2002"/>
                      </a:cubicBezTo>
                      <a:cubicBezTo>
                        <a:pt x="910" y="1993"/>
                        <a:pt x="925" y="1990"/>
                        <a:pt x="926" y="1990"/>
                      </a:cubicBezTo>
                      <a:cubicBezTo>
                        <a:pt x="935" y="1986"/>
                        <a:pt x="942" y="1967"/>
                        <a:pt x="945" y="1965"/>
                      </a:cubicBezTo>
                      <a:cubicBezTo>
                        <a:pt x="946" y="1965"/>
                        <a:pt x="946" y="1968"/>
                        <a:pt x="947" y="1968"/>
                      </a:cubicBezTo>
                      <a:cubicBezTo>
                        <a:pt x="950" y="1967"/>
                        <a:pt x="953" y="1967"/>
                        <a:pt x="955" y="1964"/>
                      </a:cubicBezTo>
                      <a:cubicBezTo>
                        <a:pt x="961" y="1956"/>
                        <a:pt x="957" y="1950"/>
                        <a:pt x="948" y="1947"/>
                      </a:cubicBezTo>
                      <a:cubicBezTo>
                        <a:pt x="945" y="1946"/>
                        <a:pt x="941" y="1947"/>
                        <a:pt x="938" y="1948"/>
                      </a:cubicBezTo>
                      <a:cubicBezTo>
                        <a:pt x="928" y="1953"/>
                        <a:pt x="936" y="1952"/>
                        <a:pt x="935" y="1958"/>
                      </a:cubicBezTo>
                      <a:cubicBezTo>
                        <a:pt x="933" y="1967"/>
                        <a:pt x="910" y="1971"/>
                        <a:pt x="905" y="1976"/>
                      </a:cubicBezTo>
                      <a:cubicBezTo>
                        <a:pt x="905" y="1977"/>
                        <a:pt x="904" y="1977"/>
                        <a:pt x="904" y="1977"/>
                      </a:cubicBezTo>
                      <a:cubicBezTo>
                        <a:pt x="904" y="1977"/>
                        <a:pt x="904" y="1977"/>
                        <a:pt x="904" y="1977"/>
                      </a:cubicBezTo>
                      <a:cubicBezTo>
                        <a:pt x="899" y="1972"/>
                        <a:pt x="902" y="1970"/>
                        <a:pt x="903" y="1965"/>
                      </a:cubicBezTo>
                      <a:cubicBezTo>
                        <a:pt x="905" y="1959"/>
                        <a:pt x="897" y="1967"/>
                        <a:pt x="897" y="1963"/>
                      </a:cubicBezTo>
                      <a:cubicBezTo>
                        <a:pt x="897" y="1959"/>
                        <a:pt x="894" y="1946"/>
                        <a:pt x="895" y="1942"/>
                      </a:cubicBezTo>
                      <a:cubicBezTo>
                        <a:pt x="896" y="1942"/>
                        <a:pt x="912" y="1927"/>
                        <a:pt x="912" y="1927"/>
                      </a:cubicBezTo>
                      <a:cubicBezTo>
                        <a:pt x="914" y="1925"/>
                        <a:pt x="911" y="1922"/>
                        <a:pt x="911" y="1920"/>
                      </a:cubicBezTo>
                      <a:cubicBezTo>
                        <a:pt x="910" y="1917"/>
                        <a:pt x="910" y="1915"/>
                        <a:pt x="911" y="1912"/>
                      </a:cubicBezTo>
                      <a:cubicBezTo>
                        <a:pt x="920" y="1902"/>
                        <a:pt x="946" y="1907"/>
                        <a:pt x="954" y="1895"/>
                      </a:cubicBezTo>
                      <a:cubicBezTo>
                        <a:pt x="956" y="1892"/>
                        <a:pt x="953" y="1889"/>
                        <a:pt x="952" y="1886"/>
                      </a:cubicBezTo>
                      <a:cubicBezTo>
                        <a:pt x="951" y="1885"/>
                        <a:pt x="949" y="1885"/>
                        <a:pt x="949" y="1883"/>
                      </a:cubicBezTo>
                      <a:cubicBezTo>
                        <a:pt x="949" y="1882"/>
                        <a:pt x="953" y="1882"/>
                        <a:pt x="953" y="1881"/>
                      </a:cubicBezTo>
                      <a:cubicBezTo>
                        <a:pt x="953" y="1879"/>
                        <a:pt x="950" y="1878"/>
                        <a:pt x="950" y="1876"/>
                      </a:cubicBezTo>
                      <a:cubicBezTo>
                        <a:pt x="949" y="1873"/>
                        <a:pt x="950" y="1870"/>
                        <a:pt x="950" y="1866"/>
                      </a:cubicBezTo>
                      <a:cubicBezTo>
                        <a:pt x="950" y="1865"/>
                        <a:pt x="952" y="1864"/>
                        <a:pt x="952" y="1863"/>
                      </a:cubicBezTo>
                      <a:cubicBezTo>
                        <a:pt x="954" y="1856"/>
                        <a:pt x="944" y="1862"/>
                        <a:pt x="944" y="1862"/>
                      </a:cubicBezTo>
                      <a:cubicBezTo>
                        <a:pt x="942" y="1861"/>
                        <a:pt x="946" y="1859"/>
                        <a:pt x="945" y="1856"/>
                      </a:cubicBezTo>
                      <a:cubicBezTo>
                        <a:pt x="943" y="1852"/>
                        <a:pt x="940" y="1848"/>
                        <a:pt x="937" y="1845"/>
                      </a:cubicBezTo>
                      <a:cubicBezTo>
                        <a:pt x="933" y="1841"/>
                        <a:pt x="927" y="1851"/>
                        <a:pt x="926" y="1844"/>
                      </a:cubicBezTo>
                      <a:cubicBezTo>
                        <a:pt x="923" y="1826"/>
                        <a:pt x="925" y="1831"/>
                        <a:pt x="935" y="1827"/>
                      </a:cubicBezTo>
                      <a:cubicBezTo>
                        <a:pt x="936" y="1826"/>
                        <a:pt x="940" y="1817"/>
                        <a:pt x="937" y="1818"/>
                      </a:cubicBezTo>
                      <a:cubicBezTo>
                        <a:pt x="929" y="1819"/>
                        <a:pt x="925" y="1825"/>
                        <a:pt x="918" y="1819"/>
                      </a:cubicBezTo>
                      <a:cubicBezTo>
                        <a:pt x="911" y="1813"/>
                        <a:pt x="924" y="1812"/>
                        <a:pt x="925" y="1809"/>
                      </a:cubicBezTo>
                      <a:cubicBezTo>
                        <a:pt x="927" y="1807"/>
                        <a:pt x="925" y="1804"/>
                        <a:pt x="925" y="1802"/>
                      </a:cubicBezTo>
                      <a:cubicBezTo>
                        <a:pt x="927" y="1795"/>
                        <a:pt x="934" y="1791"/>
                        <a:pt x="927" y="1784"/>
                      </a:cubicBezTo>
                      <a:cubicBezTo>
                        <a:pt x="925" y="1781"/>
                        <a:pt x="921" y="1780"/>
                        <a:pt x="919" y="1778"/>
                      </a:cubicBezTo>
                      <a:cubicBezTo>
                        <a:pt x="916" y="1775"/>
                        <a:pt x="923" y="1767"/>
                        <a:pt x="918" y="1767"/>
                      </a:cubicBezTo>
                      <a:cubicBezTo>
                        <a:pt x="907" y="1766"/>
                        <a:pt x="914" y="1775"/>
                        <a:pt x="906" y="1777"/>
                      </a:cubicBezTo>
                      <a:cubicBezTo>
                        <a:pt x="877" y="1782"/>
                        <a:pt x="913" y="1773"/>
                        <a:pt x="890" y="1769"/>
                      </a:cubicBezTo>
                      <a:cubicBezTo>
                        <a:pt x="882" y="1768"/>
                        <a:pt x="882" y="1776"/>
                        <a:pt x="876" y="1772"/>
                      </a:cubicBezTo>
                      <a:cubicBezTo>
                        <a:pt x="873" y="1771"/>
                        <a:pt x="872" y="1769"/>
                        <a:pt x="870" y="1767"/>
                      </a:cubicBezTo>
                      <a:cubicBezTo>
                        <a:pt x="865" y="1763"/>
                        <a:pt x="867" y="1776"/>
                        <a:pt x="861" y="1776"/>
                      </a:cubicBezTo>
                      <a:cubicBezTo>
                        <a:pt x="857" y="1776"/>
                        <a:pt x="853" y="1775"/>
                        <a:pt x="849" y="1774"/>
                      </a:cubicBezTo>
                      <a:cubicBezTo>
                        <a:pt x="847" y="1772"/>
                        <a:pt x="846" y="1769"/>
                        <a:pt x="844" y="1769"/>
                      </a:cubicBezTo>
                      <a:cubicBezTo>
                        <a:pt x="841" y="1769"/>
                        <a:pt x="840" y="1775"/>
                        <a:pt x="837" y="1775"/>
                      </a:cubicBezTo>
                      <a:cubicBezTo>
                        <a:pt x="833" y="1775"/>
                        <a:pt x="830" y="1771"/>
                        <a:pt x="825" y="1770"/>
                      </a:cubicBezTo>
                      <a:cubicBezTo>
                        <a:pt x="811" y="1768"/>
                        <a:pt x="833" y="1790"/>
                        <a:pt x="817" y="1787"/>
                      </a:cubicBezTo>
                      <a:cubicBezTo>
                        <a:pt x="813" y="1787"/>
                        <a:pt x="812" y="1782"/>
                        <a:pt x="809" y="1780"/>
                      </a:cubicBezTo>
                      <a:cubicBezTo>
                        <a:pt x="807" y="1779"/>
                        <a:pt x="803" y="1780"/>
                        <a:pt x="800" y="1779"/>
                      </a:cubicBezTo>
                      <a:cubicBezTo>
                        <a:pt x="792" y="1776"/>
                        <a:pt x="786" y="1766"/>
                        <a:pt x="778" y="1760"/>
                      </a:cubicBezTo>
                      <a:cubicBezTo>
                        <a:pt x="776" y="1758"/>
                        <a:pt x="755" y="1780"/>
                        <a:pt x="748" y="1790"/>
                      </a:cubicBezTo>
                      <a:cubicBezTo>
                        <a:pt x="746" y="1793"/>
                        <a:pt x="740" y="1787"/>
                        <a:pt x="736" y="1787"/>
                      </a:cubicBezTo>
                      <a:cubicBezTo>
                        <a:pt x="734" y="1787"/>
                        <a:pt x="734" y="1790"/>
                        <a:pt x="732" y="1791"/>
                      </a:cubicBezTo>
                      <a:cubicBezTo>
                        <a:pt x="729" y="1793"/>
                        <a:pt x="727" y="1786"/>
                        <a:pt x="723" y="1785"/>
                      </a:cubicBezTo>
                      <a:cubicBezTo>
                        <a:pt x="710" y="1782"/>
                        <a:pt x="707" y="1801"/>
                        <a:pt x="697" y="1796"/>
                      </a:cubicBezTo>
                      <a:cubicBezTo>
                        <a:pt x="693" y="1795"/>
                        <a:pt x="690" y="1792"/>
                        <a:pt x="687" y="1789"/>
                      </a:cubicBezTo>
                      <a:cubicBezTo>
                        <a:pt x="685" y="1787"/>
                        <a:pt x="683" y="1784"/>
                        <a:pt x="682" y="1781"/>
                      </a:cubicBezTo>
                      <a:cubicBezTo>
                        <a:pt x="682" y="1779"/>
                        <a:pt x="686" y="1779"/>
                        <a:pt x="685" y="1777"/>
                      </a:cubicBezTo>
                      <a:cubicBezTo>
                        <a:pt x="685" y="1775"/>
                        <a:pt x="670" y="1762"/>
                        <a:pt x="670" y="1760"/>
                      </a:cubicBezTo>
                      <a:cubicBezTo>
                        <a:pt x="669" y="1758"/>
                        <a:pt x="673" y="1756"/>
                        <a:pt x="671" y="1754"/>
                      </a:cubicBezTo>
                      <a:cubicBezTo>
                        <a:pt x="671" y="1754"/>
                        <a:pt x="670" y="1754"/>
                        <a:pt x="669" y="1754"/>
                      </a:cubicBezTo>
                      <a:cubicBezTo>
                        <a:pt x="667" y="1754"/>
                        <a:pt x="665" y="1756"/>
                        <a:pt x="663" y="1756"/>
                      </a:cubicBezTo>
                      <a:cubicBezTo>
                        <a:pt x="659" y="1757"/>
                        <a:pt x="658" y="1750"/>
                        <a:pt x="656" y="1747"/>
                      </a:cubicBezTo>
                      <a:cubicBezTo>
                        <a:pt x="656" y="1746"/>
                        <a:pt x="654" y="1746"/>
                        <a:pt x="653" y="1746"/>
                      </a:cubicBezTo>
                      <a:cubicBezTo>
                        <a:pt x="651" y="1748"/>
                        <a:pt x="639" y="1755"/>
                        <a:pt x="637" y="1755"/>
                      </a:cubicBezTo>
                      <a:cubicBezTo>
                        <a:pt x="636" y="1756"/>
                        <a:pt x="636" y="1752"/>
                        <a:pt x="634" y="1752"/>
                      </a:cubicBezTo>
                      <a:cubicBezTo>
                        <a:pt x="630" y="1752"/>
                        <a:pt x="626" y="1753"/>
                        <a:pt x="623" y="1754"/>
                      </a:cubicBezTo>
                      <a:cubicBezTo>
                        <a:pt x="622" y="1754"/>
                        <a:pt x="618" y="1762"/>
                        <a:pt x="615" y="1757"/>
                      </a:cubicBezTo>
                      <a:cubicBezTo>
                        <a:pt x="615" y="1756"/>
                        <a:pt x="617" y="1754"/>
                        <a:pt x="617" y="1753"/>
                      </a:cubicBezTo>
                      <a:cubicBezTo>
                        <a:pt x="618" y="1752"/>
                        <a:pt x="618" y="1749"/>
                        <a:pt x="617" y="1748"/>
                      </a:cubicBezTo>
                      <a:cubicBezTo>
                        <a:pt x="615" y="1746"/>
                        <a:pt x="613" y="1748"/>
                        <a:pt x="611" y="1746"/>
                      </a:cubicBezTo>
                      <a:cubicBezTo>
                        <a:pt x="608" y="1744"/>
                        <a:pt x="611" y="1739"/>
                        <a:pt x="609" y="1736"/>
                      </a:cubicBezTo>
                      <a:cubicBezTo>
                        <a:pt x="607" y="1733"/>
                        <a:pt x="599" y="1732"/>
                        <a:pt x="601" y="1728"/>
                      </a:cubicBezTo>
                      <a:cubicBezTo>
                        <a:pt x="603" y="1726"/>
                        <a:pt x="616" y="1723"/>
                        <a:pt x="613" y="1718"/>
                      </a:cubicBezTo>
                      <a:cubicBezTo>
                        <a:pt x="608" y="1711"/>
                        <a:pt x="597" y="1711"/>
                        <a:pt x="594" y="1709"/>
                      </a:cubicBezTo>
                      <a:cubicBezTo>
                        <a:pt x="592" y="1707"/>
                        <a:pt x="590" y="1705"/>
                        <a:pt x="589" y="1702"/>
                      </a:cubicBezTo>
                      <a:cubicBezTo>
                        <a:pt x="588" y="1700"/>
                        <a:pt x="590" y="1697"/>
                        <a:pt x="589" y="1696"/>
                      </a:cubicBezTo>
                      <a:cubicBezTo>
                        <a:pt x="587" y="1694"/>
                        <a:pt x="583" y="1694"/>
                        <a:pt x="581" y="1692"/>
                      </a:cubicBezTo>
                      <a:cubicBezTo>
                        <a:pt x="577" y="1690"/>
                        <a:pt x="576" y="1685"/>
                        <a:pt x="572" y="1685"/>
                      </a:cubicBezTo>
                      <a:cubicBezTo>
                        <a:pt x="567" y="1684"/>
                        <a:pt x="566" y="1694"/>
                        <a:pt x="561" y="1694"/>
                      </a:cubicBezTo>
                      <a:cubicBezTo>
                        <a:pt x="559" y="1694"/>
                        <a:pt x="559" y="1690"/>
                        <a:pt x="558" y="1690"/>
                      </a:cubicBezTo>
                      <a:cubicBezTo>
                        <a:pt x="536" y="1688"/>
                        <a:pt x="549" y="1701"/>
                        <a:pt x="536" y="1706"/>
                      </a:cubicBezTo>
                      <a:cubicBezTo>
                        <a:pt x="536" y="1706"/>
                        <a:pt x="512" y="1708"/>
                        <a:pt x="511" y="1708"/>
                      </a:cubicBezTo>
                      <a:cubicBezTo>
                        <a:pt x="510" y="1708"/>
                        <a:pt x="514" y="1725"/>
                        <a:pt x="509" y="1730"/>
                      </a:cubicBezTo>
                      <a:cubicBezTo>
                        <a:pt x="506" y="1733"/>
                        <a:pt x="502" y="1736"/>
                        <a:pt x="497" y="1736"/>
                      </a:cubicBezTo>
                      <a:cubicBezTo>
                        <a:pt x="495" y="1736"/>
                        <a:pt x="496" y="1733"/>
                        <a:pt x="494" y="1732"/>
                      </a:cubicBezTo>
                      <a:cubicBezTo>
                        <a:pt x="493" y="1731"/>
                        <a:pt x="491" y="1734"/>
                        <a:pt x="490" y="1733"/>
                      </a:cubicBezTo>
                      <a:cubicBezTo>
                        <a:pt x="489" y="1732"/>
                        <a:pt x="490" y="1730"/>
                        <a:pt x="489" y="1728"/>
                      </a:cubicBezTo>
                      <a:cubicBezTo>
                        <a:pt x="489" y="1728"/>
                        <a:pt x="477" y="1721"/>
                        <a:pt x="477" y="1720"/>
                      </a:cubicBezTo>
                      <a:cubicBezTo>
                        <a:pt x="476" y="1719"/>
                        <a:pt x="478" y="1718"/>
                        <a:pt x="478" y="1716"/>
                      </a:cubicBezTo>
                      <a:cubicBezTo>
                        <a:pt x="476" y="1713"/>
                        <a:pt x="472" y="1710"/>
                        <a:pt x="472" y="1707"/>
                      </a:cubicBezTo>
                      <a:cubicBezTo>
                        <a:pt x="471" y="1705"/>
                        <a:pt x="475" y="1705"/>
                        <a:pt x="475" y="1703"/>
                      </a:cubicBezTo>
                      <a:cubicBezTo>
                        <a:pt x="473" y="1699"/>
                        <a:pt x="465" y="1699"/>
                        <a:pt x="465" y="1694"/>
                      </a:cubicBezTo>
                      <a:cubicBezTo>
                        <a:pt x="464" y="1693"/>
                        <a:pt x="468" y="1692"/>
                        <a:pt x="468" y="1690"/>
                      </a:cubicBezTo>
                      <a:cubicBezTo>
                        <a:pt x="470" y="1684"/>
                        <a:pt x="450" y="1680"/>
                        <a:pt x="448" y="1675"/>
                      </a:cubicBezTo>
                      <a:cubicBezTo>
                        <a:pt x="446" y="1671"/>
                        <a:pt x="450" y="1665"/>
                        <a:pt x="449" y="1660"/>
                      </a:cubicBezTo>
                      <a:cubicBezTo>
                        <a:pt x="449" y="1651"/>
                        <a:pt x="476" y="1663"/>
                        <a:pt x="484" y="1658"/>
                      </a:cubicBezTo>
                      <a:cubicBezTo>
                        <a:pt x="489" y="1655"/>
                        <a:pt x="494" y="1645"/>
                        <a:pt x="494" y="1639"/>
                      </a:cubicBezTo>
                      <a:cubicBezTo>
                        <a:pt x="494" y="1638"/>
                        <a:pt x="491" y="1639"/>
                        <a:pt x="492" y="1638"/>
                      </a:cubicBezTo>
                      <a:cubicBezTo>
                        <a:pt x="495" y="1636"/>
                        <a:pt x="500" y="1634"/>
                        <a:pt x="502" y="1631"/>
                      </a:cubicBezTo>
                      <a:cubicBezTo>
                        <a:pt x="503" y="1629"/>
                        <a:pt x="502" y="1624"/>
                        <a:pt x="499" y="1623"/>
                      </a:cubicBezTo>
                      <a:cubicBezTo>
                        <a:pt x="490" y="1619"/>
                        <a:pt x="489" y="1623"/>
                        <a:pt x="484" y="1617"/>
                      </a:cubicBezTo>
                      <a:cubicBezTo>
                        <a:pt x="482" y="1615"/>
                        <a:pt x="488" y="1607"/>
                        <a:pt x="481" y="1608"/>
                      </a:cubicBezTo>
                      <a:cubicBezTo>
                        <a:pt x="475" y="1608"/>
                        <a:pt x="471" y="1606"/>
                        <a:pt x="462" y="1609"/>
                      </a:cubicBezTo>
                      <a:cubicBezTo>
                        <a:pt x="458" y="1610"/>
                        <a:pt x="455" y="1614"/>
                        <a:pt x="451" y="1612"/>
                      </a:cubicBezTo>
                      <a:cubicBezTo>
                        <a:pt x="448" y="1611"/>
                        <a:pt x="454" y="1595"/>
                        <a:pt x="448" y="1592"/>
                      </a:cubicBezTo>
                      <a:cubicBezTo>
                        <a:pt x="447" y="1591"/>
                        <a:pt x="429" y="1591"/>
                        <a:pt x="424" y="1587"/>
                      </a:cubicBezTo>
                      <a:cubicBezTo>
                        <a:pt x="415" y="1581"/>
                        <a:pt x="420" y="1576"/>
                        <a:pt x="407" y="1572"/>
                      </a:cubicBezTo>
                      <a:cubicBezTo>
                        <a:pt x="405" y="1571"/>
                        <a:pt x="411" y="1561"/>
                        <a:pt x="408" y="1560"/>
                      </a:cubicBezTo>
                      <a:cubicBezTo>
                        <a:pt x="400" y="1560"/>
                        <a:pt x="398" y="1560"/>
                        <a:pt x="389" y="1554"/>
                      </a:cubicBezTo>
                      <a:cubicBezTo>
                        <a:pt x="385" y="1551"/>
                        <a:pt x="392" y="1539"/>
                        <a:pt x="391" y="1537"/>
                      </a:cubicBezTo>
                      <a:cubicBezTo>
                        <a:pt x="387" y="1532"/>
                        <a:pt x="395" y="1536"/>
                        <a:pt x="393" y="1533"/>
                      </a:cubicBezTo>
                      <a:cubicBezTo>
                        <a:pt x="391" y="1530"/>
                        <a:pt x="378" y="1519"/>
                        <a:pt x="378" y="1516"/>
                      </a:cubicBezTo>
                      <a:cubicBezTo>
                        <a:pt x="381" y="1508"/>
                        <a:pt x="382" y="1503"/>
                        <a:pt x="377" y="1495"/>
                      </a:cubicBezTo>
                      <a:cubicBezTo>
                        <a:pt x="376" y="1492"/>
                        <a:pt x="373" y="1497"/>
                        <a:pt x="370" y="1497"/>
                      </a:cubicBezTo>
                      <a:cubicBezTo>
                        <a:pt x="370" y="1497"/>
                        <a:pt x="352" y="1486"/>
                        <a:pt x="352" y="1486"/>
                      </a:cubicBezTo>
                      <a:cubicBezTo>
                        <a:pt x="338" y="1480"/>
                        <a:pt x="348" y="1485"/>
                        <a:pt x="340" y="1488"/>
                      </a:cubicBezTo>
                      <a:cubicBezTo>
                        <a:pt x="339" y="1488"/>
                        <a:pt x="332" y="1487"/>
                        <a:pt x="330" y="1489"/>
                      </a:cubicBezTo>
                      <a:cubicBezTo>
                        <a:pt x="327" y="1493"/>
                        <a:pt x="323" y="1504"/>
                        <a:pt x="318" y="1506"/>
                      </a:cubicBezTo>
                      <a:cubicBezTo>
                        <a:pt x="309" y="1511"/>
                        <a:pt x="310" y="1487"/>
                        <a:pt x="310" y="1487"/>
                      </a:cubicBezTo>
                      <a:cubicBezTo>
                        <a:pt x="292" y="1483"/>
                        <a:pt x="296" y="1486"/>
                        <a:pt x="284" y="1495"/>
                      </a:cubicBezTo>
                      <a:cubicBezTo>
                        <a:pt x="281" y="1497"/>
                        <a:pt x="279" y="1489"/>
                        <a:pt x="276" y="1487"/>
                      </a:cubicBezTo>
                      <a:cubicBezTo>
                        <a:pt x="266" y="1480"/>
                        <a:pt x="269" y="1499"/>
                        <a:pt x="255" y="1487"/>
                      </a:cubicBezTo>
                      <a:cubicBezTo>
                        <a:pt x="260" y="1471"/>
                        <a:pt x="243" y="1456"/>
                        <a:pt x="233" y="1448"/>
                      </a:cubicBezTo>
                      <a:cubicBezTo>
                        <a:pt x="230" y="1445"/>
                        <a:pt x="237" y="1440"/>
                        <a:pt x="230" y="1439"/>
                      </a:cubicBezTo>
                      <a:cubicBezTo>
                        <a:pt x="227" y="1438"/>
                        <a:pt x="224" y="1443"/>
                        <a:pt x="222" y="1442"/>
                      </a:cubicBezTo>
                      <a:cubicBezTo>
                        <a:pt x="220" y="1442"/>
                        <a:pt x="222" y="1440"/>
                        <a:pt x="222" y="1439"/>
                      </a:cubicBezTo>
                      <a:cubicBezTo>
                        <a:pt x="222" y="1439"/>
                        <a:pt x="222" y="1438"/>
                        <a:pt x="222" y="1437"/>
                      </a:cubicBezTo>
                      <a:cubicBezTo>
                        <a:pt x="222" y="1433"/>
                        <a:pt x="223" y="1429"/>
                        <a:pt x="223" y="1425"/>
                      </a:cubicBezTo>
                      <a:cubicBezTo>
                        <a:pt x="222" y="1423"/>
                        <a:pt x="218" y="1424"/>
                        <a:pt x="218" y="1422"/>
                      </a:cubicBezTo>
                      <a:cubicBezTo>
                        <a:pt x="218" y="1415"/>
                        <a:pt x="232" y="1410"/>
                        <a:pt x="213" y="1404"/>
                      </a:cubicBezTo>
                      <a:cubicBezTo>
                        <a:pt x="211" y="1403"/>
                        <a:pt x="207" y="1403"/>
                        <a:pt x="206" y="1401"/>
                      </a:cubicBezTo>
                      <a:cubicBezTo>
                        <a:pt x="204" y="1399"/>
                        <a:pt x="207" y="1395"/>
                        <a:pt x="205" y="1394"/>
                      </a:cubicBezTo>
                      <a:cubicBezTo>
                        <a:pt x="202" y="1392"/>
                        <a:pt x="200" y="1395"/>
                        <a:pt x="197" y="1396"/>
                      </a:cubicBezTo>
                      <a:cubicBezTo>
                        <a:pt x="198" y="1393"/>
                        <a:pt x="194" y="1385"/>
                        <a:pt x="196" y="1383"/>
                      </a:cubicBezTo>
                      <a:cubicBezTo>
                        <a:pt x="197" y="1382"/>
                        <a:pt x="200" y="1382"/>
                        <a:pt x="201" y="1380"/>
                      </a:cubicBezTo>
                      <a:cubicBezTo>
                        <a:pt x="201" y="1379"/>
                        <a:pt x="199" y="1379"/>
                        <a:pt x="199" y="1377"/>
                      </a:cubicBezTo>
                      <a:cubicBezTo>
                        <a:pt x="198" y="1376"/>
                        <a:pt x="198" y="1374"/>
                        <a:pt x="199" y="1373"/>
                      </a:cubicBezTo>
                      <a:cubicBezTo>
                        <a:pt x="206" y="1367"/>
                        <a:pt x="206" y="1374"/>
                        <a:pt x="209" y="1367"/>
                      </a:cubicBezTo>
                      <a:cubicBezTo>
                        <a:pt x="209" y="1365"/>
                        <a:pt x="204" y="1366"/>
                        <a:pt x="202" y="1365"/>
                      </a:cubicBezTo>
                      <a:cubicBezTo>
                        <a:pt x="198" y="1361"/>
                        <a:pt x="201" y="1358"/>
                        <a:pt x="200" y="1354"/>
                      </a:cubicBezTo>
                      <a:cubicBezTo>
                        <a:pt x="199" y="1352"/>
                        <a:pt x="190" y="1347"/>
                        <a:pt x="188" y="1345"/>
                      </a:cubicBezTo>
                      <a:cubicBezTo>
                        <a:pt x="184" y="1337"/>
                        <a:pt x="189" y="1341"/>
                        <a:pt x="189" y="1333"/>
                      </a:cubicBezTo>
                      <a:cubicBezTo>
                        <a:pt x="189" y="1323"/>
                        <a:pt x="177" y="1312"/>
                        <a:pt x="176" y="1302"/>
                      </a:cubicBezTo>
                      <a:cubicBezTo>
                        <a:pt x="175" y="1296"/>
                        <a:pt x="182" y="1292"/>
                        <a:pt x="184" y="1287"/>
                      </a:cubicBezTo>
                      <a:cubicBezTo>
                        <a:pt x="184" y="1273"/>
                        <a:pt x="184" y="1273"/>
                        <a:pt x="184" y="1273"/>
                      </a:cubicBezTo>
                      <a:cubicBezTo>
                        <a:pt x="184" y="1270"/>
                        <a:pt x="182" y="1267"/>
                        <a:pt x="184" y="1264"/>
                      </a:cubicBezTo>
                      <a:cubicBezTo>
                        <a:pt x="189" y="1253"/>
                        <a:pt x="199" y="1258"/>
                        <a:pt x="185" y="1249"/>
                      </a:cubicBezTo>
                      <a:cubicBezTo>
                        <a:pt x="187" y="1241"/>
                        <a:pt x="174" y="1232"/>
                        <a:pt x="180" y="1225"/>
                      </a:cubicBezTo>
                      <a:cubicBezTo>
                        <a:pt x="182" y="1224"/>
                        <a:pt x="184" y="1227"/>
                        <a:pt x="185" y="1228"/>
                      </a:cubicBezTo>
                      <a:cubicBezTo>
                        <a:pt x="188" y="1229"/>
                        <a:pt x="191" y="1234"/>
                        <a:pt x="193" y="1232"/>
                      </a:cubicBezTo>
                      <a:cubicBezTo>
                        <a:pt x="196" y="1229"/>
                        <a:pt x="192" y="1224"/>
                        <a:pt x="193" y="1220"/>
                      </a:cubicBezTo>
                      <a:cubicBezTo>
                        <a:pt x="193" y="1213"/>
                        <a:pt x="206" y="1219"/>
                        <a:pt x="208" y="1219"/>
                      </a:cubicBezTo>
                      <a:cubicBezTo>
                        <a:pt x="222" y="1216"/>
                        <a:pt x="197" y="1200"/>
                        <a:pt x="227" y="1199"/>
                      </a:cubicBezTo>
                      <a:cubicBezTo>
                        <a:pt x="237" y="1198"/>
                        <a:pt x="270" y="1204"/>
                        <a:pt x="254" y="1191"/>
                      </a:cubicBezTo>
                      <a:cubicBezTo>
                        <a:pt x="252" y="1189"/>
                        <a:pt x="246" y="1192"/>
                        <a:pt x="243" y="1190"/>
                      </a:cubicBezTo>
                      <a:cubicBezTo>
                        <a:pt x="234" y="1186"/>
                        <a:pt x="238" y="1176"/>
                        <a:pt x="224" y="1182"/>
                      </a:cubicBezTo>
                      <a:cubicBezTo>
                        <a:pt x="219" y="1183"/>
                        <a:pt x="213" y="1191"/>
                        <a:pt x="206" y="1188"/>
                      </a:cubicBezTo>
                      <a:cubicBezTo>
                        <a:pt x="205" y="1187"/>
                        <a:pt x="204" y="1185"/>
                        <a:pt x="203" y="1184"/>
                      </a:cubicBezTo>
                      <a:cubicBezTo>
                        <a:pt x="201" y="1181"/>
                        <a:pt x="198" y="1178"/>
                        <a:pt x="195" y="1177"/>
                      </a:cubicBezTo>
                      <a:cubicBezTo>
                        <a:pt x="193" y="1176"/>
                        <a:pt x="189" y="1180"/>
                        <a:pt x="187" y="1178"/>
                      </a:cubicBezTo>
                      <a:cubicBezTo>
                        <a:pt x="182" y="1171"/>
                        <a:pt x="187" y="1159"/>
                        <a:pt x="182" y="1152"/>
                      </a:cubicBezTo>
                      <a:cubicBezTo>
                        <a:pt x="181" y="1151"/>
                        <a:pt x="171" y="1168"/>
                        <a:pt x="171" y="1168"/>
                      </a:cubicBezTo>
                      <a:cubicBezTo>
                        <a:pt x="166" y="1170"/>
                        <a:pt x="161" y="1170"/>
                        <a:pt x="157" y="1172"/>
                      </a:cubicBezTo>
                      <a:cubicBezTo>
                        <a:pt x="156" y="1173"/>
                        <a:pt x="157" y="1174"/>
                        <a:pt x="157" y="1175"/>
                      </a:cubicBezTo>
                      <a:cubicBezTo>
                        <a:pt x="155" y="1174"/>
                        <a:pt x="155" y="1174"/>
                        <a:pt x="155" y="1174"/>
                      </a:cubicBezTo>
                      <a:cubicBezTo>
                        <a:pt x="159" y="1161"/>
                        <a:pt x="170" y="1147"/>
                        <a:pt x="176" y="1136"/>
                      </a:cubicBezTo>
                      <a:cubicBezTo>
                        <a:pt x="194" y="1105"/>
                        <a:pt x="205" y="1069"/>
                        <a:pt x="217" y="1036"/>
                      </a:cubicBezTo>
                      <a:cubicBezTo>
                        <a:pt x="226" y="1011"/>
                        <a:pt x="228" y="1005"/>
                        <a:pt x="230" y="979"/>
                      </a:cubicBezTo>
                      <a:cubicBezTo>
                        <a:pt x="230" y="975"/>
                        <a:pt x="232" y="971"/>
                        <a:pt x="231" y="967"/>
                      </a:cubicBezTo>
                      <a:cubicBezTo>
                        <a:pt x="226" y="954"/>
                        <a:pt x="176" y="935"/>
                        <a:pt x="163" y="926"/>
                      </a:cubicBezTo>
                      <a:cubicBezTo>
                        <a:pt x="161" y="925"/>
                        <a:pt x="181" y="894"/>
                        <a:pt x="167" y="883"/>
                      </a:cubicBezTo>
                      <a:cubicBezTo>
                        <a:pt x="162" y="879"/>
                        <a:pt x="151" y="883"/>
                        <a:pt x="148" y="877"/>
                      </a:cubicBezTo>
                      <a:cubicBezTo>
                        <a:pt x="133" y="852"/>
                        <a:pt x="151" y="864"/>
                        <a:pt x="147" y="856"/>
                      </a:cubicBezTo>
                      <a:cubicBezTo>
                        <a:pt x="140" y="846"/>
                        <a:pt x="133" y="854"/>
                        <a:pt x="124" y="844"/>
                      </a:cubicBezTo>
                      <a:cubicBezTo>
                        <a:pt x="117" y="836"/>
                        <a:pt x="122" y="835"/>
                        <a:pt x="126" y="827"/>
                      </a:cubicBezTo>
                      <a:cubicBezTo>
                        <a:pt x="128" y="822"/>
                        <a:pt x="115" y="822"/>
                        <a:pt x="115" y="820"/>
                      </a:cubicBezTo>
                      <a:cubicBezTo>
                        <a:pt x="115" y="816"/>
                        <a:pt x="115" y="795"/>
                        <a:pt x="115" y="795"/>
                      </a:cubicBezTo>
                      <a:cubicBezTo>
                        <a:pt x="103" y="785"/>
                        <a:pt x="117" y="791"/>
                        <a:pt x="121" y="787"/>
                      </a:cubicBezTo>
                      <a:cubicBezTo>
                        <a:pt x="123" y="783"/>
                        <a:pt x="109" y="763"/>
                        <a:pt x="107" y="761"/>
                      </a:cubicBezTo>
                      <a:cubicBezTo>
                        <a:pt x="98" y="748"/>
                        <a:pt x="87" y="733"/>
                        <a:pt x="76" y="721"/>
                      </a:cubicBezTo>
                      <a:cubicBezTo>
                        <a:pt x="74" y="720"/>
                        <a:pt x="65" y="713"/>
                        <a:pt x="63" y="709"/>
                      </a:cubicBezTo>
                      <a:cubicBezTo>
                        <a:pt x="55" y="694"/>
                        <a:pt x="82" y="653"/>
                        <a:pt x="71" y="644"/>
                      </a:cubicBezTo>
                      <a:cubicBezTo>
                        <a:pt x="68" y="640"/>
                        <a:pt x="63" y="640"/>
                        <a:pt x="60" y="638"/>
                      </a:cubicBezTo>
                      <a:cubicBezTo>
                        <a:pt x="54" y="634"/>
                        <a:pt x="51" y="626"/>
                        <a:pt x="45" y="622"/>
                      </a:cubicBezTo>
                      <a:cubicBezTo>
                        <a:pt x="44" y="622"/>
                        <a:pt x="25" y="619"/>
                        <a:pt x="24" y="619"/>
                      </a:cubicBezTo>
                      <a:cubicBezTo>
                        <a:pt x="21" y="616"/>
                        <a:pt x="20" y="611"/>
                        <a:pt x="17" y="608"/>
                      </a:cubicBezTo>
                      <a:cubicBezTo>
                        <a:pt x="5" y="587"/>
                        <a:pt x="20" y="589"/>
                        <a:pt x="13" y="574"/>
                      </a:cubicBezTo>
                      <a:cubicBezTo>
                        <a:pt x="11" y="567"/>
                        <a:pt x="0" y="574"/>
                        <a:pt x="2" y="570"/>
                      </a:cubicBezTo>
                      <a:cubicBezTo>
                        <a:pt x="14" y="557"/>
                        <a:pt x="14" y="557"/>
                        <a:pt x="14" y="557"/>
                      </a:cubicBezTo>
                      <a:cubicBezTo>
                        <a:pt x="21" y="559"/>
                        <a:pt x="17" y="544"/>
                        <a:pt x="16" y="537"/>
                      </a:cubicBezTo>
                      <a:cubicBezTo>
                        <a:pt x="16" y="538"/>
                        <a:pt x="16" y="540"/>
                        <a:pt x="17" y="541"/>
                      </a:cubicBezTo>
                      <a:cubicBezTo>
                        <a:pt x="20" y="529"/>
                        <a:pt x="20" y="529"/>
                        <a:pt x="20" y="529"/>
                      </a:cubicBezTo>
                      <a:cubicBezTo>
                        <a:pt x="18" y="531"/>
                        <a:pt x="17" y="532"/>
                        <a:pt x="17" y="533"/>
                      </a:cubicBezTo>
                      <a:cubicBezTo>
                        <a:pt x="22" y="525"/>
                        <a:pt x="38" y="514"/>
                        <a:pt x="29" y="506"/>
                      </a:cubicBezTo>
                      <a:cubicBezTo>
                        <a:pt x="23" y="501"/>
                        <a:pt x="41" y="510"/>
                        <a:pt x="47" y="508"/>
                      </a:cubicBezTo>
                      <a:cubicBezTo>
                        <a:pt x="54" y="506"/>
                        <a:pt x="46" y="495"/>
                        <a:pt x="43" y="490"/>
                      </a:cubicBezTo>
                      <a:cubicBezTo>
                        <a:pt x="51" y="490"/>
                        <a:pt x="68" y="490"/>
                        <a:pt x="68" y="489"/>
                      </a:cubicBezTo>
                      <a:cubicBezTo>
                        <a:pt x="70" y="487"/>
                        <a:pt x="64" y="485"/>
                        <a:pt x="63" y="482"/>
                      </a:cubicBezTo>
                      <a:cubicBezTo>
                        <a:pt x="62" y="477"/>
                        <a:pt x="63" y="473"/>
                        <a:pt x="64" y="468"/>
                      </a:cubicBezTo>
                      <a:cubicBezTo>
                        <a:pt x="65" y="466"/>
                        <a:pt x="80" y="473"/>
                        <a:pt x="82" y="475"/>
                      </a:cubicBezTo>
                      <a:cubicBezTo>
                        <a:pt x="86" y="479"/>
                        <a:pt x="94" y="470"/>
                        <a:pt x="98" y="473"/>
                      </a:cubicBezTo>
                      <a:cubicBezTo>
                        <a:pt x="101" y="477"/>
                        <a:pt x="100" y="484"/>
                        <a:pt x="97" y="487"/>
                      </a:cubicBezTo>
                      <a:cubicBezTo>
                        <a:pt x="91" y="493"/>
                        <a:pt x="79" y="476"/>
                        <a:pt x="74" y="482"/>
                      </a:cubicBezTo>
                      <a:cubicBezTo>
                        <a:pt x="71" y="486"/>
                        <a:pt x="73" y="493"/>
                        <a:pt x="76" y="495"/>
                      </a:cubicBezTo>
                      <a:cubicBezTo>
                        <a:pt x="79" y="498"/>
                        <a:pt x="84" y="490"/>
                        <a:pt x="87" y="492"/>
                      </a:cubicBezTo>
                      <a:cubicBezTo>
                        <a:pt x="89" y="494"/>
                        <a:pt x="88" y="497"/>
                        <a:pt x="87" y="501"/>
                      </a:cubicBezTo>
                      <a:cubicBezTo>
                        <a:pt x="95" y="494"/>
                        <a:pt x="116" y="488"/>
                        <a:pt x="117" y="493"/>
                      </a:cubicBezTo>
                      <a:cubicBezTo>
                        <a:pt x="120" y="506"/>
                        <a:pt x="110" y="486"/>
                        <a:pt x="115" y="506"/>
                      </a:cubicBezTo>
                      <a:cubicBezTo>
                        <a:pt x="115" y="509"/>
                        <a:pt x="121" y="509"/>
                        <a:pt x="121" y="512"/>
                      </a:cubicBezTo>
                      <a:cubicBezTo>
                        <a:pt x="122" y="518"/>
                        <a:pt x="107" y="523"/>
                        <a:pt x="117" y="530"/>
                      </a:cubicBezTo>
                      <a:cubicBezTo>
                        <a:pt x="120" y="531"/>
                        <a:pt x="115" y="525"/>
                        <a:pt x="116" y="523"/>
                      </a:cubicBezTo>
                      <a:cubicBezTo>
                        <a:pt x="117" y="518"/>
                        <a:pt x="122" y="515"/>
                        <a:pt x="124" y="511"/>
                      </a:cubicBezTo>
                      <a:cubicBezTo>
                        <a:pt x="125" y="510"/>
                        <a:pt x="124" y="509"/>
                        <a:pt x="124" y="507"/>
                      </a:cubicBezTo>
                      <a:cubicBezTo>
                        <a:pt x="126" y="503"/>
                        <a:pt x="127" y="498"/>
                        <a:pt x="130" y="495"/>
                      </a:cubicBezTo>
                      <a:cubicBezTo>
                        <a:pt x="138" y="487"/>
                        <a:pt x="142" y="497"/>
                        <a:pt x="150" y="494"/>
                      </a:cubicBezTo>
                      <a:cubicBezTo>
                        <a:pt x="163" y="489"/>
                        <a:pt x="170" y="483"/>
                        <a:pt x="185" y="486"/>
                      </a:cubicBezTo>
                      <a:cubicBezTo>
                        <a:pt x="202" y="490"/>
                        <a:pt x="228" y="495"/>
                        <a:pt x="246" y="502"/>
                      </a:cubicBezTo>
                      <a:cubicBezTo>
                        <a:pt x="250" y="504"/>
                        <a:pt x="253" y="508"/>
                        <a:pt x="257" y="510"/>
                      </a:cubicBezTo>
                      <a:cubicBezTo>
                        <a:pt x="260" y="511"/>
                        <a:pt x="263" y="510"/>
                        <a:pt x="266" y="511"/>
                      </a:cubicBezTo>
                      <a:cubicBezTo>
                        <a:pt x="268" y="512"/>
                        <a:pt x="268" y="516"/>
                        <a:pt x="270" y="517"/>
                      </a:cubicBezTo>
                      <a:cubicBezTo>
                        <a:pt x="274" y="518"/>
                        <a:pt x="280" y="520"/>
                        <a:pt x="281" y="516"/>
                      </a:cubicBezTo>
                      <a:cubicBezTo>
                        <a:pt x="283" y="513"/>
                        <a:pt x="275" y="515"/>
                        <a:pt x="272" y="514"/>
                      </a:cubicBezTo>
                      <a:cubicBezTo>
                        <a:pt x="271" y="514"/>
                        <a:pt x="274" y="514"/>
                        <a:pt x="275" y="514"/>
                      </a:cubicBezTo>
                      <a:cubicBezTo>
                        <a:pt x="275" y="513"/>
                        <a:pt x="274" y="511"/>
                        <a:pt x="274" y="511"/>
                      </a:cubicBezTo>
                      <a:cubicBezTo>
                        <a:pt x="280" y="511"/>
                        <a:pt x="314" y="528"/>
                        <a:pt x="317" y="520"/>
                      </a:cubicBezTo>
                      <a:cubicBezTo>
                        <a:pt x="318" y="517"/>
                        <a:pt x="310" y="515"/>
                        <a:pt x="310" y="512"/>
                      </a:cubicBezTo>
                      <a:cubicBezTo>
                        <a:pt x="310" y="510"/>
                        <a:pt x="314" y="514"/>
                        <a:pt x="316" y="515"/>
                      </a:cubicBezTo>
                      <a:cubicBezTo>
                        <a:pt x="320" y="517"/>
                        <a:pt x="323" y="520"/>
                        <a:pt x="326" y="522"/>
                      </a:cubicBezTo>
                      <a:cubicBezTo>
                        <a:pt x="329" y="523"/>
                        <a:pt x="332" y="522"/>
                        <a:pt x="334" y="523"/>
                      </a:cubicBezTo>
                      <a:cubicBezTo>
                        <a:pt x="338" y="525"/>
                        <a:pt x="339" y="529"/>
                        <a:pt x="342" y="531"/>
                      </a:cubicBezTo>
                      <a:cubicBezTo>
                        <a:pt x="346" y="535"/>
                        <a:pt x="351" y="527"/>
                        <a:pt x="356" y="527"/>
                      </a:cubicBezTo>
                      <a:cubicBezTo>
                        <a:pt x="362" y="528"/>
                        <a:pt x="361" y="540"/>
                        <a:pt x="365" y="544"/>
                      </a:cubicBezTo>
                      <a:cubicBezTo>
                        <a:pt x="366" y="544"/>
                        <a:pt x="366" y="542"/>
                        <a:pt x="367" y="542"/>
                      </a:cubicBezTo>
                      <a:cubicBezTo>
                        <a:pt x="373" y="544"/>
                        <a:pt x="373" y="554"/>
                        <a:pt x="376" y="557"/>
                      </a:cubicBezTo>
                      <a:cubicBezTo>
                        <a:pt x="378" y="558"/>
                        <a:pt x="382" y="555"/>
                        <a:pt x="384" y="557"/>
                      </a:cubicBezTo>
                      <a:cubicBezTo>
                        <a:pt x="391" y="562"/>
                        <a:pt x="392" y="587"/>
                        <a:pt x="391" y="596"/>
                      </a:cubicBezTo>
                      <a:cubicBezTo>
                        <a:pt x="390" y="605"/>
                        <a:pt x="391" y="609"/>
                        <a:pt x="390" y="617"/>
                      </a:cubicBezTo>
                      <a:cubicBezTo>
                        <a:pt x="385" y="643"/>
                        <a:pt x="357" y="670"/>
                        <a:pt x="332" y="674"/>
                      </a:cubicBezTo>
                      <a:cubicBezTo>
                        <a:pt x="321" y="676"/>
                        <a:pt x="314" y="673"/>
                        <a:pt x="304" y="673"/>
                      </a:cubicBezTo>
                      <a:cubicBezTo>
                        <a:pt x="293" y="673"/>
                        <a:pt x="282" y="678"/>
                        <a:pt x="271" y="679"/>
                      </a:cubicBezTo>
                      <a:cubicBezTo>
                        <a:pt x="266" y="680"/>
                        <a:pt x="261" y="683"/>
                        <a:pt x="256" y="682"/>
                      </a:cubicBezTo>
                      <a:cubicBezTo>
                        <a:pt x="249" y="682"/>
                        <a:pt x="236" y="673"/>
                        <a:pt x="229" y="675"/>
                      </a:cubicBezTo>
                      <a:cubicBezTo>
                        <a:pt x="226" y="677"/>
                        <a:pt x="226" y="682"/>
                        <a:pt x="222" y="683"/>
                      </a:cubicBezTo>
                      <a:cubicBezTo>
                        <a:pt x="220" y="684"/>
                        <a:pt x="219" y="679"/>
                        <a:pt x="217" y="679"/>
                      </a:cubicBezTo>
                      <a:cubicBezTo>
                        <a:pt x="214" y="678"/>
                        <a:pt x="210" y="680"/>
                        <a:pt x="208" y="678"/>
                      </a:cubicBezTo>
                      <a:cubicBezTo>
                        <a:pt x="206" y="677"/>
                        <a:pt x="210" y="670"/>
                        <a:pt x="207" y="670"/>
                      </a:cubicBezTo>
                      <a:cubicBezTo>
                        <a:pt x="204" y="671"/>
                        <a:pt x="206" y="677"/>
                        <a:pt x="203" y="678"/>
                      </a:cubicBezTo>
                      <a:cubicBezTo>
                        <a:pt x="200" y="680"/>
                        <a:pt x="196" y="680"/>
                        <a:pt x="192" y="680"/>
                      </a:cubicBezTo>
                      <a:cubicBezTo>
                        <a:pt x="188" y="680"/>
                        <a:pt x="167" y="674"/>
                        <a:pt x="164" y="669"/>
                      </a:cubicBezTo>
                      <a:cubicBezTo>
                        <a:pt x="163" y="666"/>
                        <a:pt x="168" y="663"/>
                        <a:pt x="166" y="660"/>
                      </a:cubicBezTo>
                      <a:cubicBezTo>
                        <a:pt x="165" y="659"/>
                        <a:pt x="138" y="664"/>
                        <a:pt x="134" y="665"/>
                      </a:cubicBezTo>
                      <a:cubicBezTo>
                        <a:pt x="133" y="665"/>
                        <a:pt x="136" y="668"/>
                        <a:pt x="137" y="668"/>
                      </a:cubicBezTo>
                      <a:cubicBezTo>
                        <a:pt x="145" y="667"/>
                        <a:pt x="153" y="662"/>
                        <a:pt x="158" y="673"/>
                      </a:cubicBezTo>
                      <a:cubicBezTo>
                        <a:pt x="159" y="674"/>
                        <a:pt x="154" y="674"/>
                        <a:pt x="154" y="675"/>
                      </a:cubicBezTo>
                      <a:cubicBezTo>
                        <a:pt x="153" y="677"/>
                        <a:pt x="157" y="674"/>
                        <a:pt x="157" y="675"/>
                      </a:cubicBezTo>
                      <a:cubicBezTo>
                        <a:pt x="158" y="677"/>
                        <a:pt x="155" y="678"/>
                        <a:pt x="157" y="679"/>
                      </a:cubicBezTo>
                      <a:cubicBezTo>
                        <a:pt x="157" y="680"/>
                        <a:pt x="159" y="678"/>
                        <a:pt x="160" y="678"/>
                      </a:cubicBezTo>
                      <a:cubicBezTo>
                        <a:pt x="164" y="680"/>
                        <a:pt x="167" y="687"/>
                        <a:pt x="171" y="687"/>
                      </a:cubicBezTo>
                      <a:cubicBezTo>
                        <a:pt x="189" y="691"/>
                        <a:pt x="180" y="683"/>
                        <a:pt x="197" y="693"/>
                      </a:cubicBezTo>
                      <a:cubicBezTo>
                        <a:pt x="199" y="695"/>
                        <a:pt x="203" y="695"/>
                        <a:pt x="205" y="698"/>
                      </a:cubicBezTo>
                      <a:cubicBezTo>
                        <a:pt x="205" y="700"/>
                        <a:pt x="190" y="706"/>
                        <a:pt x="196" y="710"/>
                      </a:cubicBezTo>
                      <a:cubicBezTo>
                        <a:pt x="198" y="712"/>
                        <a:pt x="201" y="707"/>
                        <a:pt x="204" y="706"/>
                      </a:cubicBezTo>
                      <a:cubicBezTo>
                        <a:pt x="207" y="705"/>
                        <a:pt x="241" y="714"/>
                        <a:pt x="245" y="718"/>
                      </a:cubicBezTo>
                      <a:cubicBezTo>
                        <a:pt x="249" y="725"/>
                        <a:pt x="248" y="722"/>
                        <a:pt x="253" y="729"/>
                      </a:cubicBezTo>
                      <a:cubicBezTo>
                        <a:pt x="254" y="731"/>
                        <a:pt x="262" y="733"/>
                        <a:pt x="260" y="734"/>
                      </a:cubicBezTo>
                      <a:cubicBezTo>
                        <a:pt x="257" y="737"/>
                        <a:pt x="252" y="730"/>
                        <a:pt x="249" y="732"/>
                      </a:cubicBezTo>
                      <a:cubicBezTo>
                        <a:pt x="248" y="732"/>
                        <a:pt x="257" y="744"/>
                        <a:pt x="257" y="744"/>
                      </a:cubicBezTo>
                      <a:cubicBezTo>
                        <a:pt x="265" y="764"/>
                        <a:pt x="256" y="749"/>
                        <a:pt x="249" y="765"/>
                      </a:cubicBezTo>
                      <a:cubicBezTo>
                        <a:pt x="249" y="766"/>
                        <a:pt x="254" y="764"/>
                        <a:pt x="256" y="765"/>
                      </a:cubicBezTo>
                      <a:cubicBezTo>
                        <a:pt x="258" y="767"/>
                        <a:pt x="274" y="783"/>
                        <a:pt x="274" y="783"/>
                      </a:cubicBezTo>
                      <a:cubicBezTo>
                        <a:pt x="274" y="785"/>
                        <a:pt x="272" y="786"/>
                        <a:pt x="273" y="788"/>
                      </a:cubicBezTo>
                      <a:cubicBezTo>
                        <a:pt x="273" y="793"/>
                        <a:pt x="282" y="790"/>
                        <a:pt x="283" y="795"/>
                      </a:cubicBezTo>
                      <a:cubicBezTo>
                        <a:pt x="284" y="797"/>
                        <a:pt x="278" y="800"/>
                        <a:pt x="280" y="803"/>
                      </a:cubicBezTo>
                      <a:cubicBezTo>
                        <a:pt x="282" y="805"/>
                        <a:pt x="286" y="798"/>
                        <a:pt x="288" y="799"/>
                      </a:cubicBezTo>
                      <a:cubicBezTo>
                        <a:pt x="290" y="801"/>
                        <a:pt x="283" y="803"/>
                        <a:pt x="283" y="806"/>
                      </a:cubicBezTo>
                      <a:cubicBezTo>
                        <a:pt x="283" y="809"/>
                        <a:pt x="283" y="815"/>
                        <a:pt x="286" y="817"/>
                      </a:cubicBezTo>
                      <a:cubicBezTo>
                        <a:pt x="286" y="818"/>
                        <a:pt x="310" y="825"/>
                        <a:pt x="312" y="825"/>
                      </a:cubicBezTo>
                      <a:cubicBezTo>
                        <a:pt x="316" y="824"/>
                        <a:pt x="309" y="813"/>
                        <a:pt x="334" y="823"/>
                      </a:cubicBezTo>
                      <a:cubicBezTo>
                        <a:pt x="382" y="841"/>
                        <a:pt x="305" y="812"/>
                        <a:pt x="347" y="836"/>
                      </a:cubicBezTo>
                      <a:cubicBezTo>
                        <a:pt x="348" y="837"/>
                        <a:pt x="389" y="835"/>
                        <a:pt x="390" y="834"/>
                      </a:cubicBezTo>
                      <a:cubicBezTo>
                        <a:pt x="392" y="833"/>
                        <a:pt x="389" y="828"/>
                        <a:pt x="391" y="826"/>
                      </a:cubicBezTo>
                      <a:cubicBezTo>
                        <a:pt x="392" y="824"/>
                        <a:pt x="395" y="826"/>
                        <a:pt x="396" y="825"/>
                      </a:cubicBezTo>
                      <a:cubicBezTo>
                        <a:pt x="404" y="815"/>
                        <a:pt x="397" y="803"/>
                        <a:pt x="390" y="795"/>
                      </a:cubicBezTo>
                      <a:cubicBezTo>
                        <a:pt x="386" y="791"/>
                        <a:pt x="386" y="795"/>
                        <a:pt x="381" y="792"/>
                      </a:cubicBezTo>
                      <a:cubicBezTo>
                        <a:pt x="379" y="791"/>
                        <a:pt x="379" y="787"/>
                        <a:pt x="378" y="788"/>
                      </a:cubicBezTo>
                      <a:cubicBezTo>
                        <a:pt x="376" y="788"/>
                        <a:pt x="377" y="791"/>
                        <a:pt x="376" y="793"/>
                      </a:cubicBezTo>
                      <a:cubicBezTo>
                        <a:pt x="376" y="794"/>
                        <a:pt x="377" y="795"/>
                        <a:pt x="376" y="795"/>
                      </a:cubicBezTo>
                      <a:cubicBezTo>
                        <a:pt x="373" y="798"/>
                        <a:pt x="368" y="800"/>
                        <a:pt x="362" y="800"/>
                      </a:cubicBezTo>
                      <a:cubicBezTo>
                        <a:pt x="359" y="799"/>
                        <a:pt x="322" y="774"/>
                        <a:pt x="323" y="770"/>
                      </a:cubicBezTo>
                      <a:cubicBezTo>
                        <a:pt x="325" y="766"/>
                        <a:pt x="331" y="766"/>
                        <a:pt x="334" y="763"/>
                      </a:cubicBezTo>
                      <a:cubicBezTo>
                        <a:pt x="338" y="760"/>
                        <a:pt x="329" y="754"/>
                        <a:pt x="329" y="749"/>
                      </a:cubicBezTo>
                      <a:cubicBezTo>
                        <a:pt x="329" y="734"/>
                        <a:pt x="369" y="756"/>
                        <a:pt x="370" y="756"/>
                      </a:cubicBezTo>
                      <a:cubicBezTo>
                        <a:pt x="375" y="755"/>
                        <a:pt x="379" y="751"/>
                        <a:pt x="383" y="751"/>
                      </a:cubicBezTo>
                      <a:cubicBezTo>
                        <a:pt x="385" y="751"/>
                        <a:pt x="385" y="753"/>
                        <a:pt x="386" y="755"/>
                      </a:cubicBezTo>
                      <a:cubicBezTo>
                        <a:pt x="386" y="754"/>
                        <a:pt x="386" y="754"/>
                        <a:pt x="386" y="754"/>
                      </a:cubicBezTo>
                      <a:cubicBezTo>
                        <a:pt x="392" y="748"/>
                        <a:pt x="421" y="759"/>
                        <a:pt x="425" y="756"/>
                      </a:cubicBezTo>
                      <a:cubicBezTo>
                        <a:pt x="429" y="755"/>
                        <a:pt x="427" y="748"/>
                        <a:pt x="430" y="746"/>
                      </a:cubicBezTo>
                      <a:cubicBezTo>
                        <a:pt x="435" y="742"/>
                        <a:pt x="443" y="752"/>
                        <a:pt x="454" y="746"/>
                      </a:cubicBezTo>
                      <a:cubicBezTo>
                        <a:pt x="458" y="743"/>
                        <a:pt x="447" y="738"/>
                        <a:pt x="445" y="733"/>
                      </a:cubicBezTo>
                      <a:cubicBezTo>
                        <a:pt x="444" y="732"/>
                        <a:pt x="446" y="731"/>
                        <a:pt x="446" y="730"/>
                      </a:cubicBezTo>
                      <a:cubicBezTo>
                        <a:pt x="443" y="720"/>
                        <a:pt x="411" y="709"/>
                        <a:pt x="403" y="699"/>
                      </a:cubicBezTo>
                      <a:cubicBezTo>
                        <a:pt x="391" y="685"/>
                        <a:pt x="404" y="677"/>
                        <a:pt x="408" y="663"/>
                      </a:cubicBezTo>
                      <a:cubicBezTo>
                        <a:pt x="410" y="658"/>
                        <a:pt x="407" y="652"/>
                        <a:pt x="410" y="647"/>
                      </a:cubicBezTo>
                      <a:cubicBezTo>
                        <a:pt x="415" y="637"/>
                        <a:pt x="424" y="633"/>
                        <a:pt x="428" y="621"/>
                      </a:cubicBezTo>
                      <a:cubicBezTo>
                        <a:pt x="429" y="618"/>
                        <a:pt x="428" y="590"/>
                        <a:pt x="430" y="589"/>
                      </a:cubicBezTo>
                      <a:cubicBezTo>
                        <a:pt x="433" y="588"/>
                        <a:pt x="438" y="588"/>
                        <a:pt x="442" y="588"/>
                      </a:cubicBezTo>
                      <a:cubicBezTo>
                        <a:pt x="450" y="589"/>
                        <a:pt x="443" y="594"/>
                        <a:pt x="444" y="594"/>
                      </a:cubicBezTo>
                      <a:cubicBezTo>
                        <a:pt x="462" y="585"/>
                        <a:pt x="450" y="579"/>
                        <a:pt x="467" y="586"/>
                      </a:cubicBezTo>
                      <a:cubicBezTo>
                        <a:pt x="471" y="587"/>
                        <a:pt x="476" y="586"/>
                        <a:pt x="479" y="588"/>
                      </a:cubicBezTo>
                      <a:cubicBezTo>
                        <a:pt x="481" y="588"/>
                        <a:pt x="481" y="590"/>
                        <a:pt x="480" y="591"/>
                      </a:cubicBezTo>
                      <a:cubicBezTo>
                        <a:pt x="481" y="590"/>
                        <a:pt x="483" y="589"/>
                        <a:pt x="485" y="589"/>
                      </a:cubicBezTo>
                      <a:cubicBezTo>
                        <a:pt x="494" y="590"/>
                        <a:pt x="497" y="606"/>
                        <a:pt x="506" y="605"/>
                      </a:cubicBezTo>
                      <a:cubicBezTo>
                        <a:pt x="507" y="605"/>
                        <a:pt x="502" y="601"/>
                        <a:pt x="491" y="585"/>
                      </a:cubicBezTo>
                      <a:cubicBezTo>
                        <a:pt x="482" y="572"/>
                        <a:pt x="489" y="561"/>
                        <a:pt x="485" y="547"/>
                      </a:cubicBezTo>
                      <a:cubicBezTo>
                        <a:pt x="485" y="546"/>
                        <a:pt x="484" y="549"/>
                        <a:pt x="482" y="549"/>
                      </a:cubicBezTo>
                      <a:cubicBezTo>
                        <a:pt x="480" y="547"/>
                        <a:pt x="477" y="545"/>
                        <a:pt x="475" y="542"/>
                      </a:cubicBezTo>
                      <a:cubicBezTo>
                        <a:pt x="475" y="541"/>
                        <a:pt x="476" y="539"/>
                        <a:pt x="476" y="538"/>
                      </a:cubicBezTo>
                      <a:cubicBezTo>
                        <a:pt x="476" y="536"/>
                        <a:pt x="475" y="533"/>
                        <a:pt x="474" y="532"/>
                      </a:cubicBezTo>
                      <a:cubicBezTo>
                        <a:pt x="470" y="529"/>
                        <a:pt x="458" y="521"/>
                        <a:pt x="455" y="520"/>
                      </a:cubicBezTo>
                      <a:cubicBezTo>
                        <a:pt x="451" y="520"/>
                        <a:pt x="447" y="524"/>
                        <a:pt x="443" y="523"/>
                      </a:cubicBezTo>
                      <a:cubicBezTo>
                        <a:pt x="438" y="522"/>
                        <a:pt x="435" y="503"/>
                        <a:pt x="435" y="499"/>
                      </a:cubicBezTo>
                      <a:cubicBezTo>
                        <a:pt x="433" y="489"/>
                        <a:pt x="435" y="488"/>
                        <a:pt x="435" y="488"/>
                      </a:cubicBezTo>
                      <a:cubicBezTo>
                        <a:pt x="433" y="485"/>
                        <a:pt x="425" y="475"/>
                        <a:pt x="424" y="471"/>
                      </a:cubicBezTo>
                      <a:cubicBezTo>
                        <a:pt x="424" y="467"/>
                        <a:pt x="428" y="463"/>
                        <a:pt x="426" y="459"/>
                      </a:cubicBezTo>
                      <a:cubicBezTo>
                        <a:pt x="426" y="457"/>
                        <a:pt x="424" y="465"/>
                        <a:pt x="422" y="464"/>
                      </a:cubicBezTo>
                      <a:cubicBezTo>
                        <a:pt x="414" y="462"/>
                        <a:pt x="425" y="448"/>
                        <a:pt x="395" y="442"/>
                      </a:cubicBezTo>
                      <a:cubicBezTo>
                        <a:pt x="394" y="442"/>
                        <a:pt x="372" y="438"/>
                        <a:pt x="378" y="433"/>
                      </a:cubicBezTo>
                      <a:cubicBezTo>
                        <a:pt x="385" y="428"/>
                        <a:pt x="393" y="434"/>
                        <a:pt x="400" y="434"/>
                      </a:cubicBezTo>
                      <a:cubicBezTo>
                        <a:pt x="406" y="434"/>
                        <a:pt x="421" y="418"/>
                        <a:pt x="426" y="416"/>
                      </a:cubicBezTo>
                      <a:cubicBezTo>
                        <a:pt x="433" y="413"/>
                        <a:pt x="441" y="411"/>
                        <a:pt x="447" y="412"/>
                      </a:cubicBezTo>
                      <a:cubicBezTo>
                        <a:pt x="448" y="412"/>
                        <a:pt x="447" y="414"/>
                        <a:pt x="447" y="415"/>
                      </a:cubicBezTo>
                      <a:cubicBezTo>
                        <a:pt x="449" y="417"/>
                        <a:pt x="452" y="420"/>
                        <a:pt x="455" y="421"/>
                      </a:cubicBezTo>
                      <a:cubicBezTo>
                        <a:pt x="467" y="426"/>
                        <a:pt x="484" y="427"/>
                        <a:pt x="491" y="442"/>
                      </a:cubicBezTo>
                      <a:cubicBezTo>
                        <a:pt x="491" y="442"/>
                        <a:pt x="481" y="449"/>
                        <a:pt x="478" y="452"/>
                      </a:cubicBezTo>
                      <a:cubicBezTo>
                        <a:pt x="475" y="456"/>
                        <a:pt x="460" y="465"/>
                        <a:pt x="462" y="470"/>
                      </a:cubicBezTo>
                      <a:cubicBezTo>
                        <a:pt x="462" y="471"/>
                        <a:pt x="464" y="470"/>
                        <a:pt x="464" y="471"/>
                      </a:cubicBezTo>
                      <a:cubicBezTo>
                        <a:pt x="465" y="472"/>
                        <a:pt x="467" y="474"/>
                        <a:pt x="467" y="476"/>
                      </a:cubicBezTo>
                      <a:cubicBezTo>
                        <a:pt x="467" y="482"/>
                        <a:pt x="456" y="489"/>
                        <a:pt x="467" y="498"/>
                      </a:cubicBezTo>
                      <a:cubicBezTo>
                        <a:pt x="472" y="503"/>
                        <a:pt x="485" y="498"/>
                        <a:pt x="491" y="500"/>
                      </a:cubicBezTo>
                      <a:cubicBezTo>
                        <a:pt x="496" y="502"/>
                        <a:pt x="508" y="520"/>
                        <a:pt x="515" y="516"/>
                      </a:cubicBezTo>
                      <a:cubicBezTo>
                        <a:pt x="520" y="514"/>
                        <a:pt x="523" y="501"/>
                        <a:pt x="527" y="505"/>
                      </a:cubicBezTo>
                      <a:cubicBezTo>
                        <a:pt x="529" y="507"/>
                        <a:pt x="525" y="513"/>
                        <a:pt x="527" y="516"/>
                      </a:cubicBezTo>
                      <a:cubicBezTo>
                        <a:pt x="529" y="518"/>
                        <a:pt x="528" y="510"/>
                        <a:pt x="529" y="507"/>
                      </a:cubicBezTo>
                      <a:cubicBezTo>
                        <a:pt x="533" y="501"/>
                        <a:pt x="538" y="494"/>
                        <a:pt x="545" y="489"/>
                      </a:cubicBezTo>
                      <a:cubicBezTo>
                        <a:pt x="546" y="488"/>
                        <a:pt x="549" y="491"/>
                        <a:pt x="551" y="489"/>
                      </a:cubicBezTo>
                      <a:cubicBezTo>
                        <a:pt x="553" y="486"/>
                        <a:pt x="541" y="469"/>
                        <a:pt x="540" y="468"/>
                      </a:cubicBezTo>
                      <a:cubicBezTo>
                        <a:pt x="537" y="463"/>
                        <a:pt x="538" y="452"/>
                        <a:pt x="536" y="448"/>
                      </a:cubicBezTo>
                      <a:cubicBezTo>
                        <a:pt x="532" y="440"/>
                        <a:pt x="523" y="443"/>
                        <a:pt x="528" y="434"/>
                      </a:cubicBezTo>
                      <a:cubicBezTo>
                        <a:pt x="529" y="432"/>
                        <a:pt x="533" y="438"/>
                        <a:pt x="533" y="436"/>
                      </a:cubicBezTo>
                      <a:cubicBezTo>
                        <a:pt x="534" y="433"/>
                        <a:pt x="532" y="430"/>
                        <a:pt x="532" y="428"/>
                      </a:cubicBezTo>
                      <a:cubicBezTo>
                        <a:pt x="533" y="425"/>
                        <a:pt x="538" y="426"/>
                        <a:pt x="540" y="424"/>
                      </a:cubicBezTo>
                      <a:cubicBezTo>
                        <a:pt x="541" y="423"/>
                        <a:pt x="539" y="420"/>
                        <a:pt x="541" y="419"/>
                      </a:cubicBezTo>
                      <a:cubicBezTo>
                        <a:pt x="545" y="417"/>
                        <a:pt x="550" y="420"/>
                        <a:pt x="554" y="417"/>
                      </a:cubicBezTo>
                      <a:cubicBezTo>
                        <a:pt x="558" y="415"/>
                        <a:pt x="545" y="419"/>
                        <a:pt x="542" y="417"/>
                      </a:cubicBezTo>
                      <a:cubicBezTo>
                        <a:pt x="540" y="415"/>
                        <a:pt x="541" y="411"/>
                        <a:pt x="538" y="410"/>
                      </a:cubicBezTo>
                      <a:cubicBezTo>
                        <a:pt x="536" y="408"/>
                        <a:pt x="531" y="409"/>
                        <a:pt x="529" y="407"/>
                      </a:cubicBezTo>
                      <a:cubicBezTo>
                        <a:pt x="528" y="405"/>
                        <a:pt x="534" y="409"/>
                        <a:pt x="537" y="408"/>
                      </a:cubicBezTo>
                      <a:cubicBezTo>
                        <a:pt x="541" y="407"/>
                        <a:pt x="544" y="404"/>
                        <a:pt x="547" y="401"/>
                      </a:cubicBezTo>
                      <a:cubicBezTo>
                        <a:pt x="551" y="396"/>
                        <a:pt x="551" y="381"/>
                        <a:pt x="555" y="376"/>
                      </a:cubicBezTo>
                      <a:cubicBezTo>
                        <a:pt x="556" y="374"/>
                        <a:pt x="554" y="380"/>
                        <a:pt x="554" y="382"/>
                      </a:cubicBezTo>
                      <a:cubicBezTo>
                        <a:pt x="555" y="383"/>
                        <a:pt x="556" y="381"/>
                        <a:pt x="556" y="379"/>
                      </a:cubicBezTo>
                      <a:cubicBezTo>
                        <a:pt x="557" y="369"/>
                        <a:pt x="557" y="357"/>
                        <a:pt x="559" y="346"/>
                      </a:cubicBezTo>
                      <a:cubicBezTo>
                        <a:pt x="560" y="344"/>
                        <a:pt x="565" y="345"/>
                        <a:pt x="567" y="343"/>
                      </a:cubicBezTo>
                      <a:cubicBezTo>
                        <a:pt x="568" y="339"/>
                        <a:pt x="568" y="335"/>
                        <a:pt x="570" y="332"/>
                      </a:cubicBezTo>
                      <a:cubicBezTo>
                        <a:pt x="571" y="331"/>
                        <a:pt x="573" y="331"/>
                        <a:pt x="573" y="330"/>
                      </a:cubicBezTo>
                      <a:cubicBezTo>
                        <a:pt x="574" y="329"/>
                        <a:pt x="571" y="328"/>
                        <a:pt x="571" y="326"/>
                      </a:cubicBezTo>
                      <a:cubicBezTo>
                        <a:pt x="572" y="325"/>
                        <a:pt x="575" y="325"/>
                        <a:pt x="575" y="323"/>
                      </a:cubicBezTo>
                      <a:cubicBezTo>
                        <a:pt x="577" y="320"/>
                        <a:pt x="576" y="313"/>
                        <a:pt x="580" y="310"/>
                      </a:cubicBezTo>
                      <a:cubicBezTo>
                        <a:pt x="588" y="304"/>
                        <a:pt x="589" y="327"/>
                        <a:pt x="594" y="326"/>
                      </a:cubicBezTo>
                      <a:cubicBezTo>
                        <a:pt x="599" y="326"/>
                        <a:pt x="597" y="317"/>
                        <a:pt x="597" y="313"/>
                      </a:cubicBezTo>
                      <a:cubicBezTo>
                        <a:pt x="598" y="312"/>
                        <a:pt x="598" y="309"/>
                        <a:pt x="597" y="309"/>
                      </a:cubicBezTo>
                      <a:cubicBezTo>
                        <a:pt x="593" y="307"/>
                        <a:pt x="589" y="308"/>
                        <a:pt x="585" y="306"/>
                      </a:cubicBezTo>
                      <a:cubicBezTo>
                        <a:pt x="584" y="305"/>
                        <a:pt x="587" y="299"/>
                        <a:pt x="585" y="300"/>
                      </a:cubicBezTo>
                      <a:cubicBezTo>
                        <a:pt x="584" y="301"/>
                        <a:pt x="584" y="303"/>
                        <a:pt x="583" y="305"/>
                      </a:cubicBezTo>
                      <a:cubicBezTo>
                        <a:pt x="583" y="305"/>
                        <a:pt x="584" y="306"/>
                        <a:pt x="584" y="308"/>
                      </a:cubicBezTo>
                      <a:cubicBezTo>
                        <a:pt x="583" y="308"/>
                        <a:pt x="581" y="309"/>
                        <a:pt x="581" y="308"/>
                      </a:cubicBezTo>
                      <a:cubicBezTo>
                        <a:pt x="577" y="295"/>
                        <a:pt x="595" y="258"/>
                        <a:pt x="605" y="249"/>
                      </a:cubicBezTo>
                      <a:cubicBezTo>
                        <a:pt x="606" y="248"/>
                        <a:pt x="608" y="247"/>
                        <a:pt x="609" y="248"/>
                      </a:cubicBezTo>
                      <a:cubicBezTo>
                        <a:pt x="609" y="250"/>
                        <a:pt x="607" y="252"/>
                        <a:pt x="606" y="254"/>
                      </a:cubicBezTo>
                      <a:cubicBezTo>
                        <a:pt x="606" y="254"/>
                        <a:pt x="593" y="268"/>
                        <a:pt x="594" y="269"/>
                      </a:cubicBezTo>
                      <a:cubicBezTo>
                        <a:pt x="597" y="271"/>
                        <a:pt x="601" y="265"/>
                        <a:pt x="605" y="265"/>
                      </a:cubicBezTo>
                      <a:cubicBezTo>
                        <a:pt x="606" y="266"/>
                        <a:pt x="604" y="269"/>
                        <a:pt x="604" y="271"/>
                      </a:cubicBezTo>
                      <a:cubicBezTo>
                        <a:pt x="605" y="275"/>
                        <a:pt x="606" y="279"/>
                        <a:pt x="608" y="282"/>
                      </a:cubicBezTo>
                      <a:cubicBezTo>
                        <a:pt x="613" y="286"/>
                        <a:pt x="622" y="287"/>
                        <a:pt x="625" y="292"/>
                      </a:cubicBezTo>
                      <a:cubicBezTo>
                        <a:pt x="629" y="300"/>
                        <a:pt x="598" y="313"/>
                        <a:pt x="620" y="313"/>
                      </a:cubicBezTo>
                      <a:cubicBezTo>
                        <a:pt x="624" y="313"/>
                        <a:pt x="624" y="308"/>
                        <a:pt x="627" y="305"/>
                      </a:cubicBezTo>
                      <a:cubicBezTo>
                        <a:pt x="630" y="304"/>
                        <a:pt x="634" y="305"/>
                        <a:pt x="635" y="303"/>
                      </a:cubicBezTo>
                      <a:cubicBezTo>
                        <a:pt x="637" y="300"/>
                        <a:pt x="632" y="295"/>
                        <a:pt x="635" y="293"/>
                      </a:cubicBezTo>
                      <a:cubicBezTo>
                        <a:pt x="637" y="292"/>
                        <a:pt x="638" y="301"/>
                        <a:pt x="640" y="300"/>
                      </a:cubicBezTo>
                      <a:cubicBezTo>
                        <a:pt x="644" y="298"/>
                        <a:pt x="639" y="291"/>
                        <a:pt x="642" y="289"/>
                      </a:cubicBezTo>
                      <a:cubicBezTo>
                        <a:pt x="646" y="287"/>
                        <a:pt x="651" y="293"/>
                        <a:pt x="655" y="291"/>
                      </a:cubicBezTo>
                      <a:cubicBezTo>
                        <a:pt x="657" y="291"/>
                        <a:pt x="646" y="278"/>
                        <a:pt x="646" y="276"/>
                      </a:cubicBezTo>
                      <a:cubicBezTo>
                        <a:pt x="642" y="263"/>
                        <a:pt x="649" y="262"/>
                        <a:pt x="653" y="253"/>
                      </a:cubicBezTo>
                      <a:cubicBezTo>
                        <a:pt x="654" y="250"/>
                        <a:pt x="652" y="246"/>
                        <a:pt x="653" y="243"/>
                      </a:cubicBezTo>
                      <a:cubicBezTo>
                        <a:pt x="654" y="241"/>
                        <a:pt x="657" y="242"/>
                        <a:pt x="658" y="242"/>
                      </a:cubicBezTo>
                      <a:cubicBezTo>
                        <a:pt x="673" y="238"/>
                        <a:pt x="663" y="236"/>
                        <a:pt x="669" y="233"/>
                      </a:cubicBezTo>
                      <a:cubicBezTo>
                        <a:pt x="671" y="232"/>
                        <a:pt x="674" y="234"/>
                        <a:pt x="677" y="233"/>
                      </a:cubicBezTo>
                      <a:cubicBezTo>
                        <a:pt x="680" y="231"/>
                        <a:pt x="683" y="229"/>
                        <a:pt x="686" y="226"/>
                      </a:cubicBezTo>
                      <a:cubicBezTo>
                        <a:pt x="689" y="222"/>
                        <a:pt x="682" y="216"/>
                        <a:pt x="682" y="211"/>
                      </a:cubicBezTo>
                      <a:cubicBezTo>
                        <a:pt x="682" y="208"/>
                        <a:pt x="687" y="207"/>
                        <a:pt x="687" y="204"/>
                      </a:cubicBezTo>
                      <a:cubicBezTo>
                        <a:pt x="688" y="200"/>
                        <a:pt x="683" y="193"/>
                        <a:pt x="687" y="191"/>
                      </a:cubicBezTo>
                      <a:cubicBezTo>
                        <a:pt x="690" y="188"/>
                        <a:pt x="698" y="200"/>
                        <a:pt x="698" y="196"/>
                      </a:cubicBezTo>
                      <a:cubicBezTo>
                        <a:pt x="698" y="192"/>
                        <a:pt x="689" y="193"/>
                        <a:pt x="687" y="189"/>
                      </a:cubicBezTo>
                      <a:cubicBezTo>
                        <a:pt x="686" y="188"/>
                        <a:pt x="692" y="174"/>
                        <a:pt x="693" y="172"/>
                      </a:cubicBezTo>
                      <a:cubicBezTo>
                        <a:pt x="695" y="171"/>
                        <a:pt x="695" y="176"/>
                        <a:pt x="696" y="176"/>
                      </a:cubicBezTo>
                      <a:cubicBezTo>
                        <a:pt x="698" y="177"/>
                        <a:pt x="700" y="175"/>
                        <a:pt x="702" y="175"/>
                      </a:cubicBezTo>
                      <a:cubicBezTo>
                        <a:pt x="731" y="174"/>
                        <a:pt x="709" y="180"/>
                        <a:pt x="717" y="191"/>
                      </a:cubicBezTo>
                      <a:cubicBezTo>
                        <a:pt x="725" y="202"/>
                        <a:pt x="725" y="202"/>
                        <a:pt x="735" y="198"/>
                      </a:cubicBezTo>
                      <a:cubicBezTo>
                        <a:pt x="738" y="196"/>
                        <a:pt x="742" y="198"/>
                        <a:pt x="743" y="195"/>
                      </a:cubicBezTo>
                      <a:cubicBezTo>
                        <a:pt x="752" y="175"/>
                        <a:pt x="731" y="185"/>
                        <a:pt x="727" y="173"/>
                      </a:cubicBezTo>
                      <a:cubicBezTo>
                        <a:pt x="726" y="170"/>
                        <a:pt x="735" y="163"/>
                        <a:pt x="738" y="159"/>
                      </a:cubicBezTo>
                      <a:cubicBezTo>
                        <a:pt x="740" y="153"/>
                        <a:pt x="735" y="146"/>
                        <a:pt x="736" y="140"/>
                      </a:cubicBezTo>
                      <a:cubicBezTo>
                        <a:pt x="738" y="133"/>
                        <a:pt x="693" y="124"/>
                        <a:pt x="685" y="120"/>
                      </a:cubicBezTo>
                      <a:cubicBezTo>
                        <a:pt x="677" y="115"/>
                        <a:pt x="687" y="111"/>
                        <a:pt x="689" y="105"/>
                      </a:cubicBezTo>
                      <a:cubicBezTo>
                        <a:pt x="691" y="100"/>
                        <a:pt x="682" y="96"/>
                        <a:pt x="682" y="91"/>
                      </a:cubicBezTo>
                      <a:cubicBezTo>
                        <a:pt x="682" y="88"/>
                        <a:pt x="700" y="84"/>
                        <a:pt x="700" y="84"/>
                      </a:cubicBezTo>
                      <a:cubicBezTo>
                        <a:pt x="712" y="76"/>
                        <a:pt x="722" y="62"/>
                        <a:pt x="736" y="55"/>
                      </a:cubicBezTo>
                      <a:cubicBezTo>
                        <a:pt x="751" y="48"/>
                        <a:pt x="767" y="43"/>
                        <a:pt x="783" y="42"/>
                      </a:cubicBezTo>
                      <a:cubicBezTo>
                        <a:pt x="784" y="42"/>
                        <a:pt x="786" y="43"/>
                        <a:pt x="787" y="43"/>
                      </a:cubicBezTo>
                      <a:cubicBezTo>
                        <a:pt x="790" y="43"/>
                        <a:pt x="794" y="42"/>
                        <a:pt x="797" y="41"/>
                      </a:cubicBezTo>
                      <a:cubicBezTo>
                        <a:pt x="801" y="39"/>
                        <a:pt x="804" y="36"/>
                        <a:pt x="808" y="34"/>
                      </a:cubicBezTo>
                      <a:cubicBezTo>
                        <a:pt x="815" y="31"/>
                        <a:pt x="798" y="39"/>
                        <a:pt x="808" y="40"/>
                      </a:cubicBezTo>
                      <a:cubicBezTo>
                        <a:pt x="812" y="39"/>
                        <a:pt x="815" y="36"/>
                        <a:pt x="818" y="34"/>
                      </a:cubicBezTo>
                      <a:cubicBezTo>
                        <a:pt x="823" y="32"/>
                        <a:pt x="829" y="33"/>
                        <a:pt x="834" y="31"/>
                      </a:cubicBezTo>
                      <a:cubicBezTo>
                        <a:pt x="836" y="30"/>
                        <a:pt x="842" y="22"/>
                        <a:pt x="845" y="22"/>
                      </a:cubicBezTo>
                      <a:cubicBezTo>
                        <a:pt x="847" y="22"/>
                        <a:pt x="846" y="26"/>
                        <a:pt x="847" y="26"/>
                      </a:cubicBezTo>
                      <a:cubicBezTo>
                        <a:pt x="854" y="30"/>
                        <a:pt x="863" y="25"/>
                        <a:pt x="870" y="25"/>
                      </a:cubicBezTo>
                      <a:cubicBezTo>
                        <a:pt x="872" y="24"/>
                        <a:pt x="875" y="24"/>
                        <a:pt x="877" y="25"/>
                      </a:cubicBezTo>
                      <a:cubicBezTo>
                        <a:pt x="879" y="25"/>
                        <a:pt x="875" y="25"/>
                        <a:pt x="875" y="26"/>
                      </a:cubicBezTo>
                      <a:cubicBezTo>
                        <a:pt x="876" y="27"/>
                        <a:pt x="877" y="26"/>
                        <a:pt x="879" y="26"/>
                      </a:cubicBezTo>
                      <a:cubicBezTo>
                        <a:pt x="882" y="25"/>
                        <a:pt x="885" y="21"/>
                        <a:pt x="889" y="21"/>
                      </a:cubicBezTo>
                      <a:cubicBezTo>
                        <a:pt x="892" y="21"/>
                        <a:pt x="894" y="26"/>
                        <a:pt x="897" y="25"/>
                      </a:cubicBezTo>
                      <a:cubicBezTo>
                        <a:pt x="900" y="24"/>
                        <a:pt x="902" y="20"/>
                        <a:pt x="902" y="16"/>
                      </a:cubicBezTo>
                      <a:cubicBezTo>
                        <a:pt x="902" y="14"/>
                        <a:pt x="899" y="16"/>
                        <a:pt x="898" y="15"/>
                      </a:cubicBezTo>
                      <a:cubicBezTo>
                        <a:pt x="895" y="13"/>
                        <a:pt x="895" y="9"/>
                        <a:pt x="893" y="6"/>
                      </a:cubicBezTo>
                      <a:cubicBezTo>
                        <a:pt x="893" y="5"/>
                        <a:pt x="892" y="3"/>
                        <a:pt x="890" y="0"/>
                      </a:cubicBezTo>
                      <a:cubicBezTo>
                        <a:pt x="1032" y="0"/>
                        <a:pt x="1032" y="0"/>
                        <a:pt x="1032" y="0"/>
                      </a:cubicBezTo>
                      <a:cubicBezTo>
                        <a:pt x="1035" y="3"/>
                        <a:pt x="1037" y="4"/>
                        <a:pt x="1036" y="7"/>
                      </a:cubicBezTo>
                      <a:cubicBezTo>
                        <a:pt x="1034" y="11"/>
                        <a:pt x="1031" y="15"/>
                        <a:pt x="1030" y="19"/>
                      </a:cubicBezTo>
                      <a:cubicBezTo>
                        <a:pt x="1029" y="20"/>
                        <a:pt x="1032" y="17"/>
                        <a:pt x="1034" y="17"/>
                      </a:cubicBezTo>
                      <a:cubicBezTo>
                        <a:pt x="1037" y="17"/>
                        <a:pt x="1051" y="23"/>
                        <a:pt x="1052" y="26"/>
                      </a:cubicBezTo>
                      <a:cubicBezTo>
                        <a:pt x="1053" y="28"/>
                        <a:pt x="1052" y="31"/>
                        <a:pt x="1050" y="32"/>
                      </a:cubicBezTo>
                      <a:cubicBezTo>
                        <a:pt x="1049" y="33"/>
                        <a:pt x="1048" y="29"/>
                        <a:pt x="1047" y="29"/>
                      </a:cubicBezTo>
                      <a:cubicBezTo>
                        <a:pt x="1046" y="29"/>
                        <a:pt x="1049" y="31"/>
                        <a:pt x="1049" y="32"/>
                      </a:cubicBezTo>
                      <a:cubicBezTo>
                        <a:pt x="1048" y="33"/>
                        <a:pt x="1046" y="34"/>
                        <a:pt x="1046" y="35"/>
                      </a:cubicBezTo>
                      <a:cubicBezTo>
                        <a:pt x="1046" y="37"/>
                        <a:pt x="1049" y="34"/>
                        <a:pt x="1049" y="35"/>
                      </a:cubicBezTo>
                      <a:cubicBezTo>
                        <a:pt x="1049" y="37"/>
                        <a:pt x="1046" y="37"/>
                        <a:pt x="1045" y="39"/>
                      </a:cubicBezTo>
                      <a:cubicBezTo>
                        <a:pt x="1045" y="39"/>
                        <a:pt x="1047" y="40"/>
                        <a:pt x="1047" y="41"/>
                      </a:cubicBezTo>
                      <a:cubicBezTo>
                        <a:pt x="1048" y="45"/>
                        <a:pt x="1050" y="50"/>
                        <a:pt x="1048" y="53"/>
                      </a:cubicBezTo>
                      <a:cubicBezTo>
                        <a:pt x="1045" y="58"/>
                        <a:pt x="1038" y="60"/>
                        <a:pt x="1034" y="58"/>
                      </a:cubicBezTo>
                      <a:cubicBezTo>
                        <a:pt x="1033" y="58"/>
                        <a:pt x="1032" y="56"/>
                        <a:pt x="1032" y="55"/>
                      </a:cubicBezTo>
                      <a:cubicBezTo>
                        <a:pt x="1032" y="55"/>
                        <a:pt x="1034" y="54"/>
                        <a:pt x="1034" y="54"/>
                      </a:cubicBezTo>
                      <a:cubicBezTo>
                        <a:pt x="1034" y="50"/>
                        <a:pt x="1037" y="41"/>
                        <a:pt x="1032" y="41"/>
                      </a:cubicBezTo>
                      <a:cubicBezTo>
                        <a:pt x="1028" y="42"/>
                        <a:pt x="1033" y="51"/>
                        <a:pt x="1030" y="54"/>
                      </a:cubicBezTo>
                      <a:cubicBezTo>
                        <a:pt x="1027" y="57"/>
                        <a:pt x="1022" y="56"/>
                        <a:pt x="1017" y="56"/>
                      </a:cubicBezTo>
                      <a:cubicBezTo>
                        <a:pt x="1015" y="56"/>
                        <a:pt x="1014" y="55"/>
                        <a:pt x="1012" y="55"/>
                      </a:cubicBezTo>
                      <a:cubicBezTo>
                        <a:pt x="1010" y="55"/>
                        <a:pt x="1014" y="59"/>
                        <a:pt x="1013" y="60"/>
                      </a:cubicBezTo>
                      <a:cubicBezTo>
                        <a:pt x="1012" y="62"/>
                        <a:pt x="1009" y="62"/>
                        <a:pt x="1009" y="64"/>
                      </a:cubicBezTo>
                      <a:cubicBezTo>
                        <a:pt x="1008" y="65"/>
                        <a:pt x="1013" y="65"/>
                        <a:pt x="1012" y="66"/>
                      </a:cubicBezTo>
                      <a:cubicBezTo>
                        <a:pt x="1004" y="77"/>
                        <a:pt x="1002" y="52"/>
                        <a:pt x="1000" y="80"/>
                      </a:cubicBezTo>
                      <a:cubicBezTo>
                        <a:pt x="1000" y="81"/>
                        <a:pt x="1004" y="77"/>
                        <a:pt x="1005" y="78"/>
                      </a:cubicBezTo>
                      <a:cubicBezTo>
                        <a:pt x="1017" y="82"/>
                        <a:pt x="1011" y="90"/>
                        <a:pt x="1026" y="84"/>
                      </a:cubicBezTo>
                      <a:cubicBezTo>
                        <a:pt x="1028" y="83"/>
                        <a:pt x="1051" y="70"/>
                        <a:pt x="1053" y="68"/>
                      </a:cubicBezTo>
                      <a:cubicBezTo>
                        <a:pt x="1059" y="62"/>
                        <a:pt x="1060" y="52"/>
                        <a:pt x="1066" y="45"/>
                      </a:cubicBezTo>
                      <a:cubicBezTo>
                        <a:pt x="1071" y="39"/>
                        <a:pt x="1082" y="41"/>
                        <a:pt x="1087" y="35"/>
                      </a:cubicBezTo>
                      <a:cubicBezTo>
                        <a:pt x="1098" y="21"/>
                        <a:pt x="1072" y="16"/>
                        <a:pt x="1070" y="7"/>
                      </a:cubicBezTo>
                      <a:cubicBezTo>
                        <a:pt x="1069" y="5"/>
                        <a:pt x="1070" y="3"/>
                        <a:pt x="1071" y="0"/>
                      </a:cubicBezTo>
                      <a:cubicBezTo>
                        <a:pt x="1825" y="0"/>
                        <a:pt x="1825" y="0"/>
                        <a:pt x="1825" y="0"/>
                      </a:cubicBezTo>
                      <a:cubicBezTo>
                        <a:pt x="1825" y="596"/>
                        <a:pt x="1825" y="596"/>
                        <a:pt x="1825" y="596"/>
                      </a:cubicBezTo>
                      <a:cubicBezTo>
                        <a:pt x="1821" y="596"/>
                        <a:pt x="1815" y="593"/>
                        <a:pt x="1810" y="603"/>
                      </a:cubicBezTo>
                      <a:cubicBezTo>
                        <a:pt x="1809" y="605"/>
                        <a:pt x="1817" y="608"/>
                        <a:pt x="1815" y="614"/>
                      </a:cubicBezTo>
                      <a:cubicBezTo>
                        <a:pt x="1811" y="627"/>
                        <a:pt x="1804" y="606"/>
                        <a:pt x="1801" y="619"/>
                      </a:cubicBezTo>
                      <a:cubicBezTo>
                        <a:pt x="1800" y="623"/>
                        <a:pt x="1808" y="629"/>
                        <a:pt x="1804" y="631"/>
                      </a:cubicBezTo>
                      <a:cubicBezTo>
                        <a:pt x="1802" y="631"/>
                        <a:pt x="1785" y="627"/>
                        <a:pt x="1786" y="625"/>
                      </a:cubicBezTo>
                      <a:cubicBezTo>
                        <a:pt x="1787" y="622"/>
                        <a:pt x="1790" y="621"/>
                        <a:pt x="1791" y="618"/>
                      </a:cubicBezTo>
                      <a:cubicBezTo>
                        <a:pt x="1792" y="615"/>
                        <a:pt x="1783" y="617"/>
                        <a:pt x="1775" y="606"/>
                      </a:cubicBezTo>
                      <a:cubicBezTo>
                        <a:pt x="1769" y="599"/>
                        <a:pt x="1782" y="602"/>
                        <a:pt x="1772" y="598"/>
                      </a:cubicBezTo>
                      <a:cubicBezTo>
                        <a:pt x="1766" y="595"/>
                        <a:pt x="1765" y="608"/>
                        <a:pt x="1752" y="598"/>
                      </a:cubicBezTo>
                      <a:cubicBezTo>
                        <a:pt x="1752" y="598"/>
                        <a:pt x="1745" y="588"/>
                        <a:pt x="1741" y="588"/>
                      </a:cubicBezTo>
                      <a:cubicBezTo>
                        <a:pt x="1736" y="587"/>
                        <a:pt x="1732" y="588"/>
                        <a:pt x="1728" y="586"/>
                      </a:cubicBezTo>
                      <a:cubicBezTo>
                        <a:pt x="1727" y="586"/>
                        <a:pt x="1726" y="578"/>
                        <a:pt x="1723" y="583"/>
                      </a:cubicBezTo>
                      <a:cubicBezTo>
                        <a:pt x="1718" y="594"/>
                        <a:pt x="1718" y="596"/>
                        <a:pt x="1719" y="606"/>
                      </a:cubicBezTo>
                      <a:cubicBezTo>
                        <a:pt x="1719" y="608"/>
                        <a:pt x="1722" y="610"/>
                        <a:pt x="1720" y="611"/>
                      </a:cubicBezTo>
                      <a:cubicBezTo>
                        <a:pt x="1712" y="619"/>
                        <a:pt x="1703" y="613"/>
                        <a:pt x="1694" y="618"/>
                      </a:cubicBezTo>
                      <a:cubicBezTo>
                        <a:pt x="1663" y="637"/>
                        <a:pt x="1701" y="618"/>
                        <a:pt x="1681" y="634"/>
                      </a:cubicBezTo>
                      <a:cubicBezTo>
                        <a:pt x="1680" y="635"/>
                        <a:pt x="1679" y="632"/>
                        <a:pt x="1678" y="632"/>
                      </a:cubicBezTo>
                      <a:cubicBezTo>
                        <a:pt x="1675" y="633"/>
                        <a:pt x="1672" y="634"/>
                        <a:pt x="1670" y="636"/>
                      </a:cubicBezTo>
                      <a:cubicBezTo>
                        <a:pt x="1667" y="639"/>
                        <a:pt x="1680" y="642"/>
                        <a:pt x="1680" y="644"/>
                      </a:cubicBezTo>
                      <a:cubicBezTo>
                        <a:pt x="1681" y="645"/>
                        <a:pt x="1676" y="643"/>
                        <a:pt x="1673" y="644"/>
                      </a:cubicBezTo>
                      <a:cubicBezTo>
                        <a:pt x="1671" y="644"/>
                        <a:pt x="1670" y="647"/>
                        <a:pt x="1668" y="648"/>
                      </a:cubicBezTo>
                      <a:cubicBezTo>
                        <a:pt x="1665" y="651"/>
                        <a:pt x="1675" y="656"/>
                        <a:pt x="1675" y="660"/>
                      </a:cubicBezTo>
                      <a:cubicBezTo>
                        <a:pt x="1676" y="666"/>
                        <a:pt x="1666" y="669"/>
                        <a:pt x="1666" y="674"/>
                      </a:cubicBezTo>
                      <a:cubicBezTo>
                        <a:pt x="1666" y="676"/>
                        <a:pt x="1667" y="677"/>
                        <a:pt x="1669" y="677"/>
                      </a:cubicBezTo>
                      <a:cubicBezTo>
                        <a:pt x="1675" y="677"/>
                        <a:pt x="1679" y="676"/>
                        <a:pt x="1677" y="686"/>
                      </a:cubicBezTo>
                      <a:cubicBezTo>
                        <a:pt x="1677" y="696"/>
                        <a:pt x="1668" y="690"/>
                        <a:pt x="1668" y="697"/>
                      </a:cubicBezTo>
                      <a:cubicBezTo>
                        <a:pt x="1668" y="719"/>
                        <a:pt x="1667" y="703"/>
                        <a:pt x="1659" y="720"/>
                      </a:cubicBezTo>
                      <a:cubicBezTo>
                        <a:pt x="1659" y="721"/>
                        <a:pt x="1662" y="723"/>
                        <a:pt x="1662" y="725"/>
                      </a:cubicBezTo>
                      <a:cubicBezTo>
                        <a:pt x="1660" y="733"/>
                        <a:pt x="1651" y="744"/>
                        <a:pt x="1647" y="752"/>
                      </a:cubicBezTo>
                      <a:cubicBezTo>
                        <a:pt x="1645" y="758"/>
                        <a:pt x="1641" y="764"/>
                        <a:pt x="1638" y="769"/>
                      </a:cubicBezTo>
                      <a:cubicBezTo>
                        <a:pt x="1638" y="771"/>
                        <a:pt x="1639" y="774"/>
                        <a:pt x="1637" y="775"/>
                      </a:cubicBezTo>
                      <a:cubicBezTo>
                        <a:pt x="1634" y="775"/>
                        <a:pt x="1634" y="770"/>
                        <a:pt x="1631" y="770"/>
                      </a:cubicBezTo>
                      <a:cubicBezTo>
                        <a:pt x="1627" y="770"/>
                        <a:pt x="1633" y="779"/>
                        <a:pt x="1632" y="783"/>
                      </a:cubicBezTo>
                      <a:cubicBezTo>
                        <a:pt x="1630" y="786"/>
                        <a:pt x="1625" y="787"/>
                        <a:pt x="1623" y="789"/>
                      </a:cubicBezTo>
                      <a:cubicBezTo>
                        <a:pt x="1621" y="790"/>
                        <a:pt x="1626" y="791"/>
                        <a:pt x="1626" y="793"/>
                      </a:cubicBezTo>
                      <a:cubicBezTo>
                        <a:pt x="1625" y="798"/>
                        <a:pt x="1617" y="798"/>
                        <a:pt x="1621" y="804"/>
                      </a:cubicBezTo>
                      <a:cubicBezTo>
                        <a:pt x="1624" y="808"/>
                        <a:pt x="1633" y="810"/>
                        <a:pt x="1632" y="815"/>
                      </a:cubicBezTo>
                      <a:cubicBezTo>
                        <a:pt x="1629" y="822"/>
                        <a:pt x="1625" y="817"/>
                        <a:pt x="1620" y="818"/>
                      </a:cubicBezTo>
                      <a:cubicBezTo>
                        <a:pt x="1614" y="819"/>
                        <a:pt x="1620" y="830"/>
                        <a:pt x="1611" y="831"/>
                      </a:cubicBezTo>
                      <a:cubicBezTo>
                        <a:pt x="1610" y="831"/>
                        <a:pt x="1610" y="829"/>
                        <a:pt x="1610" y="830"/>
                      </a:cubicBezTo>
                      <a:cubicBezTo>
                        <a:pt x="1607" y="838"/>
                        <a:pt x="1601" y="846"/>
                        <a:pt x="1597" y="854"/>
                      </a:cubicBezTo>
                      <a:cubicBezTo>
                        <a:pt x="1596" y="857"/>
                        <a:pt x="1610" y="855"/>
                        <a:pt x="1600" y="863"/>
                      </a:cubicBezTo>
                      <a:cubicBezTo>
                        <a:pt x="1598" y="864"/>
                        <a:pt x="1594" y="862"/>
                        <a:pt x="1591" y="864"/>
                      </a:cubicBezTo>
                      <a:cubicBezTo>
                        <a:pt x="1587" y="868"/>
                        <a:pt x="1590" y="875"/>
                        <a:pt x="1587" y="880"/>
                      </a:cubicBezTo>
                      <a:cubicBezTo>
                        <a:pt x="1586" y="881"/>
                        <a:pt x="1585" y="880"/>
                        <a:pt x="1584" y="881"/>
                      </a:cubicBezTo>
                      <a:cubicBezTo>
                        <a:pt x="1582" y="883"/>
                        <a:pt x="1580" y="885"/>
                        <a:pt x="1579" y="888"/>
                      </a:cubicBezTo>
                      <a:cubicBezTo>
                        <a:pt x="1578" y="889"/>
                        <a:pt x="1583" y="890"/>
                        <a:pt x="1582" y="892"/>
                      </a:cubicBezTo>
                      <a:cubicBezTo>
                        <a:pt x="1580" y="898"/>
                        <a:pt x="1565" y="905"/>
                        <a:pt x="1569" y="912"/>
                      </a:cubicBezTo>
                      <a:cubicBezTo>
                        <a:pt x="1570" y="915"/>
                        <a:pt x="1576" y="918"/>
                        <a:pt x="1577" y="921"/>
                      </a:cubicBezTo>
                      <a:cubicBezTo>
                        <a:pt x="1578" y="924"/>
                        <a:pt x="1570" y="923"/>
                        <a:pt x="1568" y="922"/>
                      </a:cubicBezTo>
                      <a:cubicBezTo>
                        <a:pt x="1566" y="920"/>
                        <a:pt x="1567" y="915"/>
                        <a:pt x="1565" y="916"/>
                      </a:cubicBezTo>
                      <a:cubicBezTo>
                        <a:pt x="1560" y="919"/>
                        <a:pt x="1553" y="923"/>
                        <a:pt x="1552" y="929"/>
                      </a:cubicBezTo>
                      <a:cubicBezTo>
                        <a:pt x="1552" y="932"/>
                        <a:pt x="1558" y="932"/>
                        <a:pt x="1558" y="935"/>
                      </a:cubicBezTo>
                      <a:cubicBezTo>
                        <a:pt x="1558" y="937"/>
                        <a:pt x="1554" y="939"/>
                        <a:pt x="1552" y="939"/>
                      </a:cubicBezTo>
                      <a:cubicBezTo>
                        <a:pt x="1550" y="939"/>
                        <a:pt x="1550" y="936"/>
                        <a:pt x="1548" y="937"/>
                      </a:cubicBezTo>
                      <a:cubicBezTo>
                        <a:pt x="1544" y="939"/>
                        <a:pt x="1544" y="946"/>
                        <a:pt x="1543" y="946"/>
                      </a:cubicBezTo>
                      <a:cubicBezTo>
                        <a:pt x="1541" y="946"/>
                        <a:pt x="1535" y="944"/>
                        <a:pt x="1534" y="944"/>
                      </a:cubicBezTo>
                      <a:cubicBezTo>
                        <a:pt x="1522" y="947"/>
                        <a:pt x="1535" y="960"/>
                        <a:pt x="1533" y="961"/>
                      </a:cubicBezTo>
                      <a:cubicBezTo>
                        <a:pt x="1527" y="963"/>
                        <a:pt x="1531" y="949"/>
                        <a:pt x="1526" y="963"/>
                      </a:cubicBezTo>
                      <a:cubicBezTo>
                        <a:pt x="1523" y="974"/>
                        <a:pt x="1539" y="959"/>
                        <a:pt x="1540" y="967"/>
                      </a:cubicBezTo>
                      <a:cubicBezTo>
                        <a:pt x="1540" y="970"/>
                        <a:pt x="1539" y="974"/>
                        <a:pt x="1540" y="977"/>
                      </a:cubicBezTo>
                      <a:cubicBezTo>
                        <a:pt x="1540" y="978"/>
                        <a:pt x="1543" y="979"/>
                        <a:pt x="1543" y="980"/>
                      </a:cubicBezTo>
                      <a:cubicBezTo>
                        <a:pt x="1542" y="982"/>
                        <a:pt x="1537" y="987"/>
                        <a:pt x="1539" y="987"/>
                      </a:cubicBezTo>
                      <a:cubicBezTo>
                        <a:pt x="1539" y="987"/>
                        <a:pt x="1556" y="977"/>
                        <a:pt x="1556" y="977"/>
                      </a:cubicBezTo>
                      <a:cubicBezTo>
                        <a:pt x="1557" y="976"/>
                        <a:pt x="1555" y="974"/>
                        <a:pt x="1555" y="972"/>
                      </a:cubicBezTo>
                      <a:cubicBezTo>
                        <a:pt x="1556" y="970"/>
                        <a:pt x="1563" y="964"/>
                        <a:pt x="1565" y="972"/>
                      </a:cubicBezTo>
                      <a:cubicBezTo>
                        <a:pt x="1566" y="975"/>
                        <a:pt x="1565" y="979"/>
                        <a:pt x="1563" y="981"/>
                      </a:cubicBezTo>
                      <a:cubicBezTo>
                        <a:pt x="1561" y="983"/>
                        <a:pt x="1559" y="979"/>
                        <a:pt x="1557" y="980"/>
                      </a:cubicBezTo>
                      <a:cubicBezTo>
                        <a:pt x="1552" y="981"/>
                        <a:pt x="1558" y="995"/>
                        <a:pt x="1563" y="996"/>
                      </a:cubicBezTo>
                      <a:cubicBezTo>
                        <a:pt x="1572" y="999"/>
                        <a:pt x="1580" y="985"/>
                        <a:pt x="1582" y="984"/>
                      </a:cubicBezTo>
                      <a:cubicBezTo>
                        <a:pt x="1585" y="983"/>
                        <a:pt x="1587" y="985"/>
                        <a:pt x="1590" y="984"/>
                      </a:cubicBezTo>
                      <a:cubicBezTo>
                        <a:pt x="1593" y="984"/>
                        <a:pt x="1601" y="974"/>
                        <a:pt x="1606" y="980"/>
                      </a:cubicBezTo>
                      <a:cubicBezTo>
                        <a:pt x="1615" y="992"/>
                        <a:pt x="1604" y="992"/>
                        <a:pt x="1600" y="994"/>
                      </a:cubicBezTo>
                      <a:cubicBezTo>
                        <a:pt x="1598" y="996"/>
                        <a:pt x="1598" y="1001"/>
                        <a:pt x="1595" y="1003"/>
                      </a:cubicBezTo>
                      <a:cubicBezTo>
                        <a:pt x="1593" y="1005"/>
                        <a:pt x="1589" y="1001"/>
                        <a:pt x="1586" y="1003"/>
                      </a:cubicBezTo>
                      <a:cubicBezTo>
                        <a:pt x="1583" y="1005"/>
                        <a:pt x="1582" y="1009"/>
                        <a:pt x="1580" y="1011"/>
                      </a:cubicBezTo>
                      <a:cubicBezTo>
                        <a:pt x="1578" y="1014"/>
                        <a:pt x="1574" y="1017"/>
                        <a:pt x="1574" y="1020"/>
                      </a:cubicBezTo>
                      <a:cubicBezTo>
                        <a:pt x="1573" y="1022"/>
                        <a:pt x="1578" y="1019"/>
                        <a:pt x="1579" y="1021"/>
                      </a:cubicBezTo>
                      <a:cubicBezTo>
                        <a:pt x="1583" y="1024"/>
                        <a:pt x="1571" y="1047"/>
                        <a:pt x="1580" y="1047"/>
                      </a:cubicBezTo>
                      <a:cubicBezTo>
                        <a:pt x="1582" y="1048"/>
                        <a:pt x="1583" y="1044"/>
                        <a:pt x="1586" y="1045"/>
                      </a:cubicBezTo>
                      <a:cubicBezTo>
                        <a:pt x="1588" y="1046"/>
                        <a:pt x="1588" y="1050"/>
                        <a:pt x="1591" y="1051"/>
                      </a:cubicBezTo>
                      <a:cubicBezTo>
                        <a:pt x="1593" y="1052"/>
                        <a:pt x="1595" y="1048"/>
                        <a:pt x="1597" y="1049"/>
                      </a:cubicBezTo>
                      <a:cubicBezTo>
                        <a:pt x="1601" y="1050"/>
                        <a:pt x="1606" y="1052"/>
                        <a:pt x="1608" y="1056"/>
                      </a:cubicBezTo>
                      <a:cubicBezTo>
                        <a:pt x="1608" y="1056"/>
                        <a:pt x="1605" y="1078"/>
                        <a:pt x="1604" y="1078"/>
                      </a:cubicBezTo>
                      <a:cubicBezTo>
                        <a:pt x="1603" y="1081"/>
                        <a:pt x="1599" y="1082"/>
                        <a:pt x="1598" y="1084"/>
                      </a:cubicBezTo>
                      <a:cubicBezTo>
                        <a:pt x="1595" y="1090"/>
                        <a:pt x="1599" y="1096"/>
                        <a:pt x="1597" y="1101"/>
                      </a:cubicBezTo>
                      <a:cubicBezTo>
                        <a:pt x="1595" y="1105"/>
                        <a:pt x="1586" y="1105"/>
                        <a:pt x="1593" y="1110"/>
                      </a:cubicBezTo>
                      <a:cubicBezTo>
                        <a:pt x="1602" y="1116"/>
                        <a:pt x="1606" y="1106"/>
                        <a:pt x="1615" y="1103"/>
                      </a:cubicBezTo>
                      <a:cubicBezTo>
                        <a:pt x="1620" y="1101"/>
                        <a:pt x="1613" y="1118"/>
                        <a:pt x="1619" y="1114"/>
                      </a:cubicBezTo>
                      <a:cubicBezTo>
                        <a:pt x="1627" y="1111"/>
                        <a:pt x="1632" y="1103"/>
                        <a:pt x="1640" y="1100"/>
                      </a:cubicBezTo>
                      <a:cubicBezTo>
                        <a:pt x="1643" y="1100"/>
                        <a:pt x="1645" y="1107"/>
                        <a:pt x="1649" y="1106"/>
                      </a:cubicBezTo>
                      <a:cubicBezTo>
                        <a:pt x="1667" y="1101"/>
                        <a:pt x="1648" y="1091"/>
                        <a:pt x="1677" y="1099"/>
                      </a:cubicBezTo>
                      <a:cubicBezTo>
                        <a:pt x="1678" y="1099"/>
                        <a:pt x="1680" y="1096"/>
                        <a:pt x="1681" y="1097"/>
                      </a:cubicBezTo>
                      <a:cubicBezTo>
                        <a:pt x="1682" y="1100"/>
                        <a:pt x="1679" y="1101"/>
                        <a:pt x="1679" y="1103"/>
                      </a:cubicBezTo>
                      <a:cubicBezTo>
                        <a:pt x="1680" y="1112"/>
                        <a:pt x="1698" y="1125"/>
                        <a:pt x="1695" y="1133"/>
                      </a:cubicBezTo>
                      <a:cubicBezTo>
                        <a:pt x="1691" y="1147"/>
                        <a:pt x="1679" y="1169"/>
                        <a:pt x="1664" y="1174"/>
                      </a:cubicBezTo>
                      <a:cubicBezTo>
                        <a:pt x="1656" y="1177"/>
                        <a:pt x="1653" y="1168"/>
                        <a:pt x="1647" y="1170"/>
                      </a:cubicBezTo>
                      <a:cubicBezTo>
                        <a:pt x="1641" y="1175"/>
                        <a:pt x="1662" y="1195"/>
                        <a:pt x="1647" y="1211"/>
                      </a:cubicBezTo>
                      <a:cubicBezTo>
                        <a:pt x="1635" y="1223"/>
                        <a:pt x="1653" y="1195"/>
                        <a:pt x="1637" y="1204"/>
                      </a:cubicBezTo>
                      <a:cubicBezTo>
                        <a:pt x="1631" y="1208"/>
                        <a:pt x="1625" y="1215"/>
                        <a:pt x="1616" y="1217"/>
                      </a:cubicBezTo>
                      <a:cubicBezTo>
                        <a:pt x="1614" y="1219"/>
                        <a:pt x="1612" y="1218"/>
                        <a:pt x="1609" y="1217"/>
                      </a:cubicBezTo>
                      <a:cubicBezTo>
                        <a:pt x="1608" y="1217"/>
                        <a:pt x="1607" y="1215"/>
                        <a:pt x="1606" y="1215"/>
                      </a:cubicBezTo>
                      <a:cubicBezTo>
                        <a:pt x="1604" y="1216"/>
                        <a:pt x="1603" y="1219"/>
                        <a:pt x="1602" y="1219"/>
                      </a:cubicBezTo>
                      <a:cubicBezTo>
                        <a:pt x="1600" y="1219"/>
                        <a:pt x="1600" y="1215"/>
                        <a:pt x="1599" y="1215"/>
                      </a:cubicBezTo>
                      <a:cubicBezTo>
                        <a:pt x="1598" y="1215"/>
                        <a:pt x="1597" y="1217"/>
                        <a:pt x="1596" y="1217"/>
                      </a:cubicBezTo>
                      <a:cubicBezTo>
                        <a:pt x="1595" y="1217"/>
                        <a:pt x="1594" y="1216"/>
                        <a:pt x="1593" y="1215"/>
                      </a:cubicBezTo>
                      <a:cubicBezTo>
                        <a:pt x="1591" y="1212"/>
                        <a:pt x="1592" y="1204"/>
                        <a:pt x="1585" y="1207"/>
                      </a:cubicBezTo>
                      <a:cubicBezTo>
                        <a:pt x="1583" y="1207"/>
                        <a:pt x="1581" y="1210"/>
                        <a:pt x="1578" y="1211"/>
                      </a:cubicBezTo>
                      <a:cubicBezTo>
                        <a:pt x="1577" y="1211"/>
                        <a:pt x="1576" y="1208"/>
                        <a:pt x="1574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73" y="1208"/>
                        <a:pt x="1573" y="1208"/>
                        <a:pt x="1573" y="1208"/>
                      </a:cubicBezTo>
                      <a:cubicBezTo>
                        <a:pt x="1566" y="1212"/>
                        <a:pt x="1573" y="1214"/>
                        <a:pt x="1573" y="1217"/>
                      </a:cubicBezTo>
                      <a:cubicBezTo>
                        <a:pt x="1569" y="1220"/>
                        <a:pt x="1561" y="1222"/>
                        <a:pt x="1560" y="1223"/>
                      </a:cubicBezTo>
                      <a:cubicBezTo>
                        <a:pt x="1559" y="1224"/>
                        <a:pt x="1559" y="1224"/>
                        <a:pt x="1559" y="1225"/>
                      </a:cubicBezTo>
                      <a:cubicBezTo>
                        <a:pt x="1563" y="1223"/>
                        <a:pt x="1571" y="1221"/>
                        <a:pt x="1573" y="1217"/>
                      </a:cubicBezTo>
                      <a:cubicBezTo>
                        <a:pt x="1570" y="1221"/>
                        <a:pt x="1558" y="1225"/>
                        <a:pt x="1557" y="1226"/>
                      </a:cubicBezTo>
                      <a:cubicBezTo>
                        <a:pt x="1553" y="1229"/>
                        <a:pt x="1562" y="1236"/>
                        <a:pt x="1564" y="1240"/>
                      </a:cubicBezTo>
                      <a:cubicBezTo>
                        <a:pt x="1563" y="1240"/>
                        <a:pt x="1561" y="1240"/>
                        <a:pt x="1560" y="1241"/>
                      </a:cubicBezTo>
                      <a:cubicBezTo>
                        <a:pt x="1560" y="1241"/>
                        <a:pt x="1560" y="1242"/>
                        <a:pt x="1560" y="1242"/>
                      </a:cubicBezTo>
                      <a:cubicBezTo>
                        <a:pt x="1560" y="1242"/>
                        <a:pt x="1561" y="1242"/>
                        <a:pt x="1563" y="1242"/>
                      </a:cubicBezTo>
                      <a:cubicBezTo>
                        <a:pt x="1560" y="1242"/>
                        <a:pt x="1558" y="1242"/>
                        <a:pt x="1557" y="1244"/>
                      </a:cubicBezTo>
                      <a:cubicBezTo>
                        <a:pt x="1556" y="1246"/>
                        <a:pt x="1558" y="1248"/>
                        <a:pt x="1557" y="1250"/>
                      </a:cubicBezTo>
                      <a:cubicBezTo>
                        <a:pt x="1552" y="1250"/>
                        <a:pt x="1540" y="1242"/>
                        <a:pt x="1539" y="1242"/>
                      </a:cubicBezTo>
                      <a:cubicBezTo>
                        <a:pt x="1538" y="1242"/>
                        <a:pt x="1537" y="1243"/>
                        <a:pt x="1536" y="1245"/>
                      </a:cubicBezTo>
                      <a:cubicBezTo>
                        <a:pt x="1534" y="1245"/>
                        <a:pt x="1533" y="1249"/>
                        <a:pt x="1531" y="1250"/>
                      </a:cubicBezTo>
                      <a:cubicBezTo>
                        <a:pt x="1532" y="1250"/>
                        <a:pt x="1532" y="1250"/>
                        <a:pt x="1532" y="1250"/>
                      </a:cubicBezTo>
                      <a:cubicBezTo>
                        <a:pt x="1530" y="1251"/>
                        <a:pt x="1525" y="1254"/>
                        <a:pt x="1524" y="1256"/>
                      </a:cubicBezTo>
                      <a:cubicBezTo>
                        <a:pt x="1525" y="1255"/>
                        <a:pt x="1527" y="1254"/>
                        <a:pt x="1529" y="1253"/>
                      </a:cubicBezTo>
                      <a:cubicBezTo>
                        <a:pt x="1525" y="1255"/>
                        <a:pt x="1520" y="1259"/>
                        <a:pt x="1520" y="1262"/>
                      </a:cubicBezTo>
                      <a:cubicBezTo>
                        <a:pt x="1521" y="1263"/>
                        <a:pt x="1525" y="1263"/>
                        <a:pt x="1525" y="1266"/>
                      </a:cubicBezTo>
                      <a:cubicBezTo>
                        <a:pt x="1521" y="1265"/>
                        <a:pt x="1516" y="1263"/>
                        <a:pt x="1516" y="1263"/>
                      </a:cubicBezTo>
                      <a:cubicBezTo>
                        <a:pt x="1514" y="1264"/>
                        <a:pt x="1514" y="1266"/>
                        <a:pt x="1515" y="1267"/>
                      </a:cubicBezTo>
                      <a:cubicBezTo>
                        <a:pt x="1513" y="1266"/>
                        <a:pt x="1513" y="1266"/>
                        <a:pt x="1512" y="1266"/>
                      </a:cubicBezTo>
                      <a:cubicBezTo>
                        <a:pt x="1509" y="1272"/>
                        <a:pt x="1520" y="1275"/>
                        <a:pt x="1516" y="1283"/>
                      </a:cubicBezTo>
                      <a:cubicBezTo>
                        <a:pt x="1516" y="1283"/>
                        <a:pt x="1516" y="1282"/>
                        <a:pt x="1516" y="1281"/>
                      </a:cubicBezTo>
                      <a:cubicBezTo>
                        <a:pt x="1514" y="1281"/>
                        <a:pt x="1512" y="1281"/>
                        <a:pt x="1512" y="1283"/>
                      </a:cubicBezTo>
                      <a:cubicBezTo>
                        <a:pt x="1511" y="1283"/>
                        <a:pt x="1511" y="1284"/>
                        <a:pt x="1511" y="1285"/>
                      </a:cubicBezTo>
                      <a:cubicBezTo>
                        <a:pt x="1512" y="1284"/>
                        <a:pt x="1512" y="1284"/>
                        <a:pt x="1513" y="1284"/>
                      </a:cubicBezTo>
                      <a:cubicBezTo>
                        <a:pt x="1511" y="1285"/>
                        <a:pt x="1509" y="1284"/>
                        <a:pt x="1509" y="1286"/>
                      </a:cubicBezTo>
                      <a:cubicBezTo>
                        <a:pt x="1507" y="1289"/>
                        <a:pt x="1514" y="1295"/>
                        <a:pt x="1514" y="1298"/>
                      </a:cubicBezTo>
                      <a:cubicBezTo>
                        <a:pt x="1514" y="1298"/>
                        <a:pt x="1510" y="1316"/>
                        <a:pt x="1509" y="1322"/>
                      </a:cubicBezTo>
                      <a:cubicBezTo>
                        <a:pt x="1505" y="1321"/>
                        <a:pt x="1501" y="1318"/>
                        <a:pt x="1498" y="1318"/>
                      </a:cubicBezTo>
                      <a:cubicBezTo>
                        <a:pt x="1497" y="1318"/>
                        <a:pt x="1496" y="1319"/>
                        <a:pt x="1496" y="1320"/>
                      </a:cubicBezTo>
                      <a:cubicBezTo>
                        <a:pt x="1496" y="1321"/>
                        <a:pt x="1497" y="1321"/>
                        <a:pt x="1499" y="1322"/>
                      </a:cubicBezTo>
                      <a:cubicBezTo>
                        <a:pt x="1497" y="1321"/>
                        <a:pt x="1496" y="1320"/>
                        <a:pt x="1495" y="1321"/>
                      </a:cubicBezTo>
                      <a:cubicBezTo>
                        <a:pt x="1494" y="1321"/>
                        <a:pt x="1494" y="1322"/>
                        <a:pt x="1493" y="1323"/>
                      </a:cubicBezTo>
                      <a:cubicBezTo>
                        <a:pt x="1493" y="1323"/>
                        <a:pt x="1493" y="1323"/>
                        <a:pt x="1493" y="1323"/>
                      </a:cubicBezTo>
                      <a:cubicBezTo>
                        <a:pt x="1486" y="1323"/>
                        <a:pt x="1454" y="1310"/>
                        <a:pt x="1449" y="1321"/>
                      </a:cubicBezTo>
                      <a:cubicBezTo>
                        <a:pt x="1453" y="1319"/>
                        <a:pt x="1458" y="1319"/>
                        <a:pt x="1465" y="1320"/>
                      </a:cubicBezTo>
                      <a:cubicBezTo>
                        <a:pt x="1455" y="1319"/>
                        <a:pt x="1447" y="1319"/>
                        <a:pt x="1446" y="1326"/>
                      </a:cubicBezTo>
                      <a:cubicBezTo>
                        <a:pt x="1445" y="1328"/>
                        <a:pt x="1445" y="1331"/>
                        <a:pt x="1448" y="1332"/>
                      </a:cubicBezTo>
                      <a:cubicBezTo>
                        <a:pt x="1449" y="1333"/>
                        <a:pt x="1454" y="1328"/>
                        <a:pt x="1457" y="1332"/>
                      </a:cubicBezTo>
                      <a:cubicBezTo>
                        <a:pt x="1460" y="1336"/>
                        <a:pt x="1470" y="1347"/>
                        <a:pt x="1469" y="1353"/>
                      </a:cubicBezTo>
                      <a:cubicBezTo>
                        <a:pt x="1468" y="1354"/>
                        <a:pt x="1467" y="1355"/>
                        <a:pt x="1466" y="1356"/>
                      </a:cubicBezTo>
                      <a:cubicBezTo>
                        <a:pt x="1467" y="1355"/>
                        <a:pt x="1468" y="1354"/>
                        <a:pt x="1468" y="1353"/>
                      </a:cubicBezTo>
                      <a:cubicBezTo>
                        <a:pt x="1465" y="1355"/>
                        <a:pt x="1462" y="1355"/>
                        <a:pt x="1460" y="1352"/>
                      </a:cubicBezTo>
                      <a:cubicBezTo>
                        <a:pt x="1457" y="1349"/>
                        <a:pt x="1456" y="1345"/>
                        <a:pt x="1454" y="1342"/>
                      </a:cubicBezTo>
                      <a:cubicBezTo>
                        <a:pt x="1454" y="1340"/>
                        <a:pt x="1456" y="1335"/>
                        <a:pt x="1453" y="1335"/>
                      </a:cubicBezTo>
                      <a:cubicBezTo>
                        <a:pt x="1453" y="1335"/>
                        <a:pt x="1436" y="1336"/>
                        <a:pt x="1436" y="1336"/>
                      </a:cubicBezTo>
                      <a:cubicBezTo>
                        <a:pt x="1436" y="1336"/>
                        <a:pt x="1435" y="1336"/>
                        <a:pt x="1432" y="1338"/>
                      </a:cubicBezTo>
                      <a:cubicBezTo>
                        <a:pt x="1421" y="1333"/>
                        <a:pt x="1435" y="1327"/>
                        <a:pt x="1415" y="1331"/>
                      </a:cubicBezTo>
                      <a:cubicBezTo>
                        <a:pt x="1411" y="1332"/>
                        <a:pt x="1408" y="1337"/>
                        <a:pt x="1404" y="1337"/>
                      </a:cubicBezTo>
                      <a:cubicBezTo>
                        <a:pt x="1387" y="1336"/>
                        <a:pt x="1403" y="1322"/>
                        <a:pt x="1380" y="1329"/>
                      </a:cubicBezTo>
                      <a:cubicBezTo>
                        <a:pt x="1374" y="1331"/>
                        <a:pt x="1355" y="1355"/>
                        <a:pt x="1350" y="1353"/>
                      </a:cubicBezTo>
                      <a:cubicBezTo>
                        <a:pt x="1344" y="1349"/>
                        <a:pt x="1339" y="1341"/>
                        <a:pt x="1332" y="1338"/>
                      </a:cubicBezTo>
                      <a:cubicBezTo>
                        <a:pt x="1331" y="1337"/>
                        <a:pt x="1332" y="1340"/>
                        <a:pt x="1332" y="1341"/>
                      </a:cubicBezTo>
                      <a:cubicBezTo>
                        <a:pt x="1331" y="1345"/>
                        <a:pt x="1330" y="1349"/>
                        <a:pt x="1327" y="1352"/>
                      </a:cubicBezTo>
                      <a:cubicBezTo>
                        <a:pt x="1325" y="1354"/>
                        <a:pt x="1322" y="1354"/>
                        <a:pt x="1320" y="1355"/>
                      </a:cubicBezTo>
                      <a:cubicBezTo>
                        <a:pt x="1312" y="1365"/>
                        <a:pt x="1326" y="1367"/>
                        <a:pt x="1322" y="1376"/>
                      </a:cubicBezTo>
                      <a:cubicBezTo>
                        <a:pt x="1319" y="1380"/>
                        <a:pt x="1316" y="1367"/>
                        <a:pt x="1313" y="1373"/>
                      </a:cubicBezTo>
                      <a:cubicBezTo>
                        <a:pt x="1310" y="1380"/>
                        <a:pt x="1315" y="1384"/>
                        <a:pt x="1305" y="1384"/>
                      </a:cubicBezTo>
                      <a:cubicBezTo>
                        <a:pt x="1294" y="1385"/>
                        <a:pt x="1310" y="1377"/>
                        <a:pt x="1303" y="1374"/>
                      </a:cubicBezTo>
                      <a:cubicBezTo>
                        <a:pt x="1291" y="1367"/>
                        <a:pt x="1293" y="1379"/>
                        <a:pt x="1284" y="1381"/>
                      </a:cubicBezTo>
                      <a:cubicBezTo>
                        <a:pt x="1280" y="1382"/>
                        <a:pt x="1277" y="1379"/>
                        <a:pt x="1273" y="1380"/>
                      </a:cubicBezTo>
                      <a:cubicBezTo>
                        <a:pt x="1272" y="1380"/>
                        <a:pt x="1282" y="1388"/>
                        <a:pt x="1282" y="1389"/>
                      </a:cubicBezTo>
                      <a:cubicBezTo>
                        <a:pt x="1278" y="1407"/>
                        <a:pt x="1279" y="1381"/>
                        <a:pt x="1273" y="1392"/>
                      </a:cubicBezTo>
                      <a:cubicBezTo>
                        <a:pt x="1269" y="1398"/>
                        <a:pt x="1277" y="1400"/>
                        <a:pt x="1277" y="1405"/>
                      </a:cubicBezTo>
                      <a:cubicBezTo>
                        <a:pt x="1277" y="1405"/>
                        <a:pt x="1274" y="1425"/>
                        <a:pt x="1273" y="1426"/>
                      </a:cubicBezTo>
                      <a:cubicBezTo>
                        <a:pt x="1271" y="1429"/>
                        <a:pt x="1267" y="1431"/>
                        <a:pt x="1265" y="1434"/>
                      </a:cubicBezTo>
                      <a:cubicBezTo>
                        <a:pt x="1263" y="1438"/>
                        <a:pt x="1265" y="1443"/>
                        <a:pt x="1263" y="1447"/>
                      </a:cubicBezTo>
                      <a:cubicBezTo>
                        <a:pt x="1260" y="1451"/>
                        <a:pt x="1251" y="1449"/>
                        <a:pt x="1249" y="1454"/>
                      </a:cubicBezTo>
                      <a:cubicBezTo>
                        <a:pt x="1245" y="1469"/>
                        <a:pt x="1259" y="1469"/>
                        <a:pt x="1258" y="1472"/>
                      </a:cubicBezTo>
                      <a:cubicBezTo>
                        <a:pt x="1257" y="1475"/>
                        <a:pt x="1255" y="1478"/>
                        <a:pt x="1253" y="1481"/>
                      </a:cubicBezTo>
                      <a:cubicBezTo>
                        <a:pt x="1253" y="1482"/>
                        <a:pt x="1251" y="1482"/>
                        <a:pt x="1250" y="1483"/>
                      </a:cubicBezTo>
                      <a:cubicBezTo>
                        <a:pt x="1250" y="1483"/>
                        <a:pt x="1247" y="1501"/>
                        <a:pt x="1246" y="1502"/>
                      </a:cubicBezTo>
                      <a:cubicBezTo>
                        <a:pt x="1244" y="1507"/>
                        <a:pt x="1233" y="1505"/>
                        <a:pt x="1233" y="1507"/>
                      </a:cubicBezTo>
                      <a:cubicBezTo>
                        <a:pt x="1233" y="1511"/>
                        <a:pt x="1239" y="1508"/>
                        <a:pt x="1239" y="1508"/>
                      </a:cubicBezTo>
                      <a:cubicBezTo>
                        <a:pt x="1243" y="1511"/>
                        <a:pt x="1256" y="1527"/>
                        <a:pt x="1260" y="1530"/>
                      </a:cubicBezTo>
                      <a:cubicBezTo>
                        <a:pt x="1261" y="1532"/>
                        <a:pt x="1260" y="1535"/>
                        <a:pt x="1262" y="1537"/>
                      </a:cubicBezTo>
                      <a:cubicBezTo>
                        <a:pt x="1266" y="1541"/>
                        <a:pt x="1267" y="1528"/>
                        <a:pt x="1270" y="1539"/>
                      </a:cubicBezTo>
                      <a:cubicBezTo>
                        <a:pt x="1271" y="1541"/>
                        <a:pt x="1271" y="1544"/>
                        <a:pt x="1270" y="1546"/>
                      </a:cubicBezTo>
                      <a:cubicBezTo>
                        <a:pt x="1256" y="1579"/>
                        <a:pt x="1248" y="1560"/>
                        <a:pt x="1228" y="1552"/>
                      </a:cubicBezTo>
                      <a:cubicBezTo>
                        <a:pt x="1226" y="1551"/>
                        <a:pt x="1203" y="1541"/>
                        <a:pt x="1201" y="1544"/>
                      </a:cubicBezTo>
                      <a:cubicBezTo>
                        <a:pt x="1199" y="1551"/>
                        <a:pt x="1194" y="1562"/>
                        <a:pt x="1199" y="1569"/>
                      </a:cubicBezTo>
                      <a:cubicBezTo>
                        <a:pt x="1200" y="1571"/>
                        <a:pt x="1205" y="1572"/>
                        <a:pt x="1205" y="1574"/>
                      </a:cubicBezTo>
                      <a:cubicBezTo>
                        <a:pt x="1206" y="1587"/>
                        <a:pt x="1196" y="1590"/>
                        <a:pt x="1196" y="1597"/>
                      </a:cubicBezTo>
                      <a:cubicBezTo>
                        <a:pt x="1196" y="1599"/>
                        <a:pt x="1210" y="1637"/>
                        <a:pt x="1210" y="1637"/>
                      </a:cubicBezTo>
                      <a:cubicBezTo>
                        <a:pt x="1213" y="1640"/>
                        <a:pt x="1224" y="1635"/>
                        <a:pt x="1227" y="1642"/>
                      </a:cubicBezTo>
                      <a:cubicBezTo>
                        <a:pt x="1231" y="1651"/>
                        <a:pt x="1225" y="1656"/>
                        <a:pt x="1224" y="1664"/>
                      </a:cubicBezTo>
                      <a:cubicBezTo>
                        <a:pt x="1223" y="1672"/>
                        <a:pt x="1227" y="1686"/>
                        <a:pt x="1228" y="1695"/>
                      </a:cubicBezTo>
                      <a:cubicBezTo>
                        <a:pt x="1229" y="1698"/>
                        <a:pt x="1228" y="1703"/>
                        <a:pt x="1230" y="1705"/>
                      </a:cubicBezTo>
                      <a:cubicBezTo>
                        <a:pt x="1232" y="1706"/>
                        <a:pt x="1259" y="1700"/>
                        <a:pt x="1263" y="1701"/>
                      </a:cubicBezTo>
                      <a:cubicBezTo>
                        <a:pt x="1267" y="1702"/>
                        <a:pt x="1264" y="1709"/>
                        <a:pt x="1267" y="1711"/>
                      </a:cubicBezTo>
                      <a:cubicBezTo>
                        <a:pt x="1269" y="1712"/>
                        <a:pt x="1271" y="1709"/>
                        <a:pt x="1272" y="1710"/>
                      </a:cubicBezTo>
                      <a:cubicBezTo>
                        <a:pt x="1273" y="1711"/>
                        <a:pt x="1272" y="1714"/>
                        <a:pt x="1272" y="1716"/>
                      </a:cubicBezTo>
                      <a:cubicBezTo>
                        <a:pt x="1271" y="1717"/>
                        <a:pt x="1268" y="1718"/>
                        <a:pt x="1269" y="1719"/>
                      </a:cubicBezTo>
                      <a:cubicBezTo>
                        <a:pt x="1271" y="1722"/>
                        <a:pt x="1276" y="1722"/>
                        <a:pt x="1279" y="1725"/>
                      </a:cubicBezTo>
                      <a:cubicBezTo>
                        <a:pt x="1280" y="1726"/>
                        <a:pt x="1278" y="1727"/>
                        <a:pt x="1277" y="1728"/>
                      </a:cubicBezTo>
                      <a:cubicBezTo>
                        <a:pt x="1277" y="1728"/>
                        <a:pt x="1278" y="1729"/>
                        <a:pt x="1278" y="1729"/>
                      </a:cubicBezTo>
                      <a:cubicBezTo>
                        <a:pt x="1279" y="1729"/>
                        <a:pt x="1294" y="1732"/>
                        <a:pt x="1294" y="1732"/>
                      </a:cubicBezTo>
                      <a:cubicBezTo>
                        <a:pt x="1295" y="1731"/>
                        <a:pt x="1289" y="1720"/>
                        <a:pt x="1290" y="1719"/>
                      </a:cubicBezTo>
                      <a:cubicBezTo>
                        <a:pt x="1294" y="1719"/>
                        <a:pt x="1298" y="1720"/>
                        <a:pt x="1303" y="1719"/>
                      </a:cubicBezTo>
                      <a:cubicBezTo>
                        <a:pt x="1310" y="1717"/>
                        <a:pt x="1314" y="1706"/>
                        <a:pt x="1323" y="1708"/>
                      </a:cubicBezTo>
                      <a:cubicBezTo>
                        <a:pt x="1345" y="1714"/>
                        <a:pt x="1354" y="1724"/>
                        <a:pt x="1372" y="1736"/>
                      </a:cubicBezTo>
                      <a:cubicBezTo>
                        <a:pt x="1380" y="1741"/>
                        <a:pt x="1391" y="1741"/>
                        <a:pt x="1397" y="1748"/>
                      </a:cubicBezTo>
                      <a:cubicBezTo>
                        <a:pt x="1400" y="1752"/>
                        <a:pt x="1392" y="1761"/>
                        <a:pt x="1389" y="1762"/>
                      </a:cubicBezTo>
                      <a:cubicBezTo>
                        <a:pt x="1386" y="1762"/>
                        <a:pt x="1379" y="1753"/>
                        <a:pt x="1376" y="1763"/>
                      </a:cubicBezTo>
                      <a:cubicBezTo>
                        <a:pt x="1372" y="1779"/>
                        <a:pt x="1407" y="1772"/>
                        <a:pt x="1419" y="1771"/>
                      </a:cubicBezTo>
                      <a:cubicBezTo>
                        <a:pt x="1419" y="1773"/>
                        <a:pt x="1420" y="1775"/>
                        <a:pt x="1421" y="1776"/>
                      </a:cubicBezTo>
                      <a:cubicBezTo>
                        <a:pt x="1421" y="1778"/>
                        <a:pt x="1422" y="1779"/>
                        <a:pt x="1422" y="1780"/>
                      </a:cubicBezTo>
                      <a:cubicBezTo>
                        <a:pt x="1422" y="1781"/>
                        <a:pt x="1422" y="1781"/>
                        <a:pt x="1422" y="1782"/>
                      </a:cubicBezTo>
                      <a:cubicBezTo>
                        <a:pt x="1423" y="1782"/>
                        <a:pt x="1423" y="1783"/>
                        <a:pt x="1423" y="1783"/>
                      </a:cubicBezTo>
                      <a:cubicBezTo>
                        <a:pt x="1423" y="1783"/>
                        <a:pt x="1423" y="1784"/>
                        <a:pt x="1423" y="1784"/>
                      </a:cubicBezTo>
                      <a:cubicBezTo>
                        <a:pt x="1423" y="1784"/>
                        <a:pt x="1423" y="1784"/>
                        <a:pt x="1423" y="1784"/>
                      </a:cubicBezTo>
                      <a:cubicBezTo>
                        <a:pt x="1423" y="1785"/>
                        <a:pt x="1423" y="1785"/>
                        <a:pt x="1423" y="1785"/>
                      </a:cubicBezTo>
                      <a:cubicBezTo>
                        <a:pt x="1423" y="1785"/>
                        <a:pt x="1423" y="1785"/>
                        <a:pt x="1423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6"/>
                        <a:pt x="1424" y="1786"/>
                        <a:pt x="1424" y="1786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4" y="1787"/>
                        <a:pt x="1424" y="1787"/>
                        <a:pt x="1424" y="1787"/>
                      </a:cubicBezTo>
                      <a:cubicBezTo>
                        <a:pt x="1422" y="1817"/>
                        <a:pt x="1413" y="1789"/>
                        <a:pt x="1410" y="1797"/>
                      </a:cubicBezTo>
                      <a:cubicBezTo>
                        <a:pt x="1409" y="1799"/>
                        <a:pt x="1417" y="1801"/>
                        <a:pt x="1414" y="1802"/>
                      </a:cubicBezTo>
                      <a:cubicBezTo>
                        <a:pt x="1408" y="1806"/>
                        <a:pt x="1407" y="1795"/>
                        <a:pt x="1406" y="1801"/>
                      </a:cubicBezTo>
                      <a:cubicBezTo>
                        <a:pt x="1404" y="1809"/>
                        <a:pt x="1417" y="1809"/>
                        <a:pt x="1421" y="1815"/>
                      </a:cubicBezTo>
                      <a:cubicBezTo>
                        <a:pt x="1425" y="1826"/>
                        <a:pt x="1409" y="1813"/>
                        <a:pt x="1407" y="1814"/>
                      </a:cubicBezTo>
                      <a:cubicBezTo>
                        <a:pt x="1402" y="1816"/>
                        <a:pt x="1406" y="1823"/>
                        <a:pt x="1404" y="1827"/>
                      </a:cubicBezTo>
                      <a:cubicBezTo>
                        <a:pt x="1404" y="1829"/>
                        <a:pt x="1400" y="1829"/>
                        <a:pt x="1399" y="1830"/>
                      </a:cubicBezTo>
                      <a:cubicBezTo>
                        <a:pt x="1398" y="1832"/>
                        <a:pt x="1401" y="1834"/>
                        <a:pt x="1400" y="1836"/>
                      </a:cubicBezTo>
                      <a:cubicBezTo>
                        <a:pt x="1398" y="1840"/>
                        <a:pt x="1395" y="1843"/>
                        <a:pt x="1392" y="1847"/>
                      </a:cubicBezTo>
                      <a:cubicBezTo>
                        <a:pt x="1385" y="1852"/>
                        <a:pt x="1385" y="1843"/>
                        <a:pt x="1384" y="1849"/>
                      </a:cubicBezTo>
                      <a:cubicBezTo>
                        <a:pt x="1384" y="1853"/>
                        <a:pt x="1389" y="1856"/>
                        <a:pt x="1387" y="1858"/>
                      </a:cubicBezTo>
                      <a:cubicBezTo>
                        <a:pt x="1382" y="1862"/>
                        <a:pt x="1377" y="1855"/>
                        <a:pt x="1373" y="1853"/>
                      </a:cubicBezTo>
                      <a:cubicBezTo>
                        <a:pt x="1371" y="1853"/>
                        <a:pt x="1368" y="1853"/>
                        <a:pt x="1369" y="1854"/>
                      </a:cubicBezTo>
                      <a:cubicBezTo>
                        <a:pt x="1372" y="1857"/>
                        <a:pt x="1376" y="1859"/>
                        <a:pt x="1379" y="1861"/>
                      </a:cubicBezTo>
                      <a:cubicBezTo>
                        <a:pt x="1380" y="1863"/>
                        <a:pt x="1382" y="1866"/>
                        <a:pt x="1380" y="1866"/>
                      </a:cubicBezTo>
                      <a:cubicBezTo>
                        <a:pt x="1379" y="1866"/>
                        <a:pt x="1378" y="1866"/>
                        <a:pt x="1376" y="1866"/>
                      </a:cubicBezTo>
                      <a:cubicBezTo>
                        <a:pt x="1376" y="1866"/>
                        <a:pt x="1376" y="1866"/>
                        <a:pt x="1377" y="1866"/>
                      </a:cubicBezTo>
                      <a:cubicBezTo>
                        <a:pt x="1373" y="1866"/>
                        <a:pt x="1370" y="1865"/>
                        <a:pt x="1367" y="1863"/>
                      </a:cubicBezTo>
                      <a:cubicBezTo>
                        <a:pt x="1366" y="1862"/>
                        <a:pt x="1369" y="1860"/>
                        <a:pt x="1368" y="1859"/>
                      </a:cubicBezTo>
                      <a:cubicBezTo>
                        <a:pt x="1366" y="1859"/>
                        <a:pt x="1361" y="1859"/>
                        <a:pt x="1362" y="1860"/>
                      </a:cubicBezTo>
                      <a:cubicBezTo>
                        <a:pt x="1366" y="1862"/>
                        <a:pt x="1370" y="1861"/>
                        <a:pt x="1374" y="1863"/>
                      </a:cubicBezTo>
                      <a:cubicBezTo>
                        <a:pt x="1375" y="1864"/>
                        <a:pt x="1376" y="1865"/>
                        <a:pt x="1377" y="1868"/>
                      </a:cubicBezTo>
                      <a:cubicBezTo>
                        <a:pt x="1378" y="1868"/>
                        <a:pt x="1378" y="1868"/>
                        <a:pt x="1378" y="1869"/>
                      </a:cubicBezTo>
                      <a:cubicBezTo>
                        <a:pt x="1378" y="1869"/>
                        <a:pt x="1378" y="1869"/>
                        <a:pt x="1378" y="1869"/>
                      </a:cubicBezTo>
                      <a:cubicBezTo>
                        <a:pt x="1378" y="1870"/>
                        <a:pt x="1378" y="1870"/>
                        <a:pt x="1378" y="1870"/>
                      </a:cubicBezTo>
                      <a:cubicBezTo>
                        <a:pt x="1378" y="1870"/>
                        <a:pt x="1378" y="1870"/>
                        <a:pt x="1378" y="1871"/>
                      </a:cubicBezTo>
                      <a:cubicBezTo>
                        <a:pt x="1378" y="1872"/>
                        <a:pt x="1378" y="1872"/>
                        <a:pt x="1378" y="1872"/>
                      </a:cubicBezTo>
                      <a:cubicBezTo>
                        <a:pt x="1378" y="1872"/>
                        <a:pt x="1378" y="1872"/>
                        <a:pt x="1378" y="1873"/>
                      </a:cubicBezTo>
                      <a:cubicBezTo>
                        <a:pt x="1379" y="1874"/>
                        <a:pt x="1379" y="1875"/>
                        <a:pt x="1379" y="1876"/>
                      </a:cubicBezTo>
                      <a:cubicBezTo>
                        <a:pt x="1379" y="1877"/>
                        <a:pt x="1379" y="1877"/>
                        <a:pt x="1379" y="1877"/>
                      </a:cubicBezTo>
                      <a:cubicBezTo>
                        <a:pt x="1379" y="1877"/>
                        <a:pt x="1379" y="1877"/>
                        <a:pt x="1379" y="1878"/>
                      </a:cubicBezTo>
                      <a:cubicBezTo>
                        <a:pt x="1379" y="1878"/>
                        <a:pt x="1379" y="1878"/>
                        <a:pt x="1379" y="1878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9" y="1879"/>
                        <a:pt x="1379" y="1879"/>
                        <a:pt x="1379" y="1879"/>
                      </a:cubicBezTo>
                      <a:cubicBezTo>
                        <a:pt x="1378" y="1881"/>
                        <a:pt x="1374" y="1880"/>
                        <a:pt x="1374" y="1882"/>
                      </a:cubicBezTo>
                      <a:cubicBezTo>
                        <a:pt x="1374" y="1883"/>
                        <a:pt x="1378" y="1881"/>
                        <a:pt x="1379" y="1882"/>
                      </a:cubicBezTo>
                      <a:cubicBezTo>
                        <a:pt x="1380" y="1884"/>
                        <a:pt x="1378" y="1887"/>
                        <a:pt x="1378" y="1890"/>
                      </a:cubicBezTo>
                      <a:cubicBezTo>
                        <a:pt x="1379" y="1892"/>
                        <a:pt x="1382" y="1894"/>
                        <a:pt x="1382" y="1898"/>
                      </a:cubicBezTo>
                      <a:cubicBezTo>
                        <a:pt x="1383" y="1899"/>
                        <a:pt x="1379" y="1898"/>
                        <a:pt x="1379" y="1899"/>
                      </a:cubicBezTo>
                      <a:cubicBezTo>
                        <a:pt x="1378" y="1905"/>
                        <a:pt x="1383" y="1911"/>
                        <a:pt x="1382" y="1917"/>
                      </a:cubicBezTo>
                      <a:cubicBezTo>
                        <a:pt x="1382" y="1918"/>
                        <a:pt x="1378" y="1918"/>
                        <a:pt x="1378" y="1920"/>
                      </a:cubicBezTo>
                      <a:cubicBezTo>
                        <a:pt x="1378" y="1925"/>
                        <a:pt x="1387" y="1932"/>
                        <a:pt x="1383" y="1932"/>
                      </a:cubicBezTo>
                      <a:cubicBezTo>
                        <a:pt x="1379" y="1931"/>
                        <a:pt x="1377" y="1923"/>
                        <a:pt x="1374" y="1925"/>
                      </a:cubicBezTo>
                      <a:cubicBezTo>
                        <a:pt x="1371" y="1928"/>
                        <a:pt x="1378" y="1932"/>
                        <a:pt x="1378" y="1936"/>
                      </a:cubicBezTo>
                      <a:cubicBezTo>
                        <a:pt x="1378" y="1945"/>
                        <a:pt x="1364" y="1949"/>
                        <a:pt x="1374" y="1960"/>
                      </a:cubicBezTo>
                      <a:cubicBezTo>
                        <a:pt x="1385" y="1973"/>
                        <a:pt x="1379" y="1960"/>
                        <a:pt x="1394" y="1961"/>
                      </a:cubicBezTo>
                      <a:cubicBezTo>
                        <a:pt x="1398" y="1961"/>
                        <a:pt x="1399" y="1967"/>
                        <a:pt x="1402" y="1968"/>
                      </a:cubicBezTo>
                      <a:cubicBezTo>
                        <a:pt x="1405" y="1969"/>
                        <a:pt x="1407" y="1965"/>
                        <a:pt x="1409" y="1965"/>
                      </a:cubicBezTo>
                      <a:cubicBezTo>
                        <a:pt x="1413" y="1967"/>
                        <a:pt x="1413" y="1971"/>
                        <a:pt x="1416" y="1973"/>
                      </a:cubicBezTo>
                      <a:cubicBezTo>
                        <a:pt x="1421" y="1977"/>
                        <a:pt x="1437" y="1986"/>
                        <a:pt x="1437" y="1988"/>
                      </a:cubicBezTo>
                      <a:cubicBezTo>
                        <a:pt x="1438" y="2002"/>
                        <a:pt x="1431" y="2001"/>
                        <a:pt x="1441" y="2008"/>
                      </a:cubicBezTo>
                      <a:cubicBezTo>
                        <a:pt x="1442" y="2009"/>
                        <a:pt x="1443" y="2008"/>
                        <a:pt x="1443" y="2008"/>
                      </a:cubicBezTo>
                      <a:cubicBezTo>
                        <a:pt x="1442" y="2002"/>
                        <a:pt x="1435" y="1981"/>
                        <a:pt x="1435" y="1981"/>
                      </a:cubicBezTo>
                      <a:cubicBezTo>
                        <a:pt x="1436" y="1978"/>
                        <a:pt x="1441" y="1974"/>
                        <a:pt x="1443" y="1976"/>
                      </a:cubicBezTo>
                      <a:cubicBezTo>
                        <a:pt x="1445" y="1980"/>
                        <a:pt x="1442" y="1985"/>
                        <a:pt x="1443" y="1989"/>
                      </a:cubicBezTo>
                      <a:cubicBezTo>
                        <a:pt x="1443" y="1993"/>
                        <a:pt x="1444" y="1997"/>
                        <a:pt x="1445" y="2001"/>
                      </a:cubicBezTo>
                      <a:cubicBezTo>
                        <a:pt x="1447" y="2006"/>
                        <a:pt x="1447" y="2016"/>
                        <a:pt x="1452" y="2020"/>
                      </a:cubicBezTo>
                      <a:cubicBezTo>
                        <a:pt x="1454" y="2021"/>
                        <a:pt x="1457" y="2015"/>
                        <a:pt x="1457" y="2017"/>
                      </a:cubicBezTo>
                      <a:cubicBezTo>
                        <a:pt x="1458" y="2027"/>
                        <a:pt x="1451" y="2029"/>
                        <a:pt x="1461" y="2039"/>
                      </a:cubicBezTo>
                      <a:cubicBezTo>
                        <a:pt x="1464" y="2042"/>
                        <a:pt x="1469" y="2042"/>
                        <a:pt x="1472" y="2042"/>
                      </a:cubicBezTo>
                      <a:cubicBezTo>
                        <a:pt x="1474" y="2043"/>
                        <a:pt x="1476" y="2041"/>
                        <a:pt x="1477" y="2042"/>
                      </a:cubicBezTo>
                      <a:cubicBezTo>
                        <a:pt x="1478" y="2044"/>
                        <a:pt x="1483" y="2056"/>
                        <a:pt x="1487" y="2057"/>
                      </a:cubicBezTo>
                      <a:cubicBezTo>
                        <a:pt x="1490" y="2058"/>
                        <a:pt x="1492" y="2055"/>
                        <a:pt x="1494" y="2055"/>
                      </a:cubicBezTo>
                      <a:cubicBezTo>
                        <a:pt x="1500" y="2057"/>
                        <a:pt x="1526" y="2072"/>
                        <a:pt x="1532" y="2076"/>
                      </a:cubicBezTo>
                      <a:cubicBezTo>
                        <a:pt x="1535" y="2079"/>
                        <a:pt x="1538" y="2084"/>
                        <a:pt x="1542" y="2085"/>
                      </a:cubicBezTo>
                      <a:cubicBezTo>
                        <a:pt x="1545" y="2087"/>
                        <a:pt x="1548" y="2084"/>
                        <a:pt x="1551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2" y="2084"/>
                      </a:cubicBezTo>
                      <a:cubicBezTo>
                        <a:pt x="1552" y="2084"/>
                        <a:pt x="1552" y="2084"/>
                        <a:pt x="1553" y="2084"/>
                      </a:cubicBezTo>
                      <a:cubicBezTo>
                        <a:pt x="1554" y="2084"/>
                        <a:pt x="1554" y="2084"/>
                        <a:pt x="1555" y="2084"/>
                      </a:cubicBezTo>
                      <a:cubicBezTo>
                        <a:pt x="1555" y="2086"/>
                        <a:pt x="1555" y="2086"/>
                        <a:pt x="1555" y="2086"/>
                      </a:cubicBezTo>
                      <a:cubicBezTo>
                        <a:pt x="1546" y="2118"/>
                        <a:pt x="1552" y="2101"/>
                        <a:pt x="1543" y="2125"/>
                      </a:cubicBezTo>
                      <a:cubicBezTo>
                        <a:pt x="1541" y="2130"/>
                        <a:pt x="1545" y="2145"/>
                        <a:pt x="1543" y="2146"/>
                      </a:cubicBezTo>
                      <a:cubicBezTo>
                        <a:pt x="1538" y="2153"/>
                        <a:pt x="1517" y="2163"/>
                        <a:pt x="1509" y="2157"/>
                      </a:cubicBezTo>
                      <a:cubicBezTo>
                        <a:pt x="1496" y="2147"/>
                        <a:pt x="1527" y="2152"/>
                        <a:pt x="1494" y="2144"/>
                      </a:cubicBezTo>
                      <a:cubicBezTo>
                        <a:pt x="1492" y="2143"/>
                        <a:pt x="1492" y="2147"/>
                        <a:pt x="1491" y="2147"/>
                      </a:cubicBezTo>
                      <a:cubicBezTo>
                        <a:pt x="1490" y="2147"/>
                        <a:pt x="1477" y="2143"/>
                        <a:pt x="1473" y="2141"/>
                      </a:cubicBezTo>
                      <a:cubicBezTo>
                        <a:pt x="1462" y="2136"/>
                        <a:pt x="1462" y="2136"/>
                        <a:pt x="1462" y="2136"/>
                      </a:cubicBezTo>
                      <a:close/>
                      <a:moveTo>
                        <a:pt x="237" y="1058"/>
                      </a:moveTo>
                      <a:cubicBezTo>
                        <a:pt x="241" y="1058"/>
                        <a:pt x="254" y="1061"/>
                        <a:pt x="255" y="1061"/>
                      </a:cubicBezTo>
                      <a:cubicBezTo>
                        <a:pt x="261" y="1064"/>
                        <a:pt x="266" y="1071"/>
                        <a:pt x="273" y="1074"/>
                      </a:cubicBezTo>
                      <a:cubicBezTo>
                        <a:pt x="284" y="1079"/>
                        <a:pt x="299" y="1077"/>
                        <a:pt x="308" y="1086"/>
                      </a:cubicBezTo>
                      <a:cubicBezTo>
                        <a:pt x="313" y="1090"/>
                        <a:pt x="318" y="1094"/>
                        <a:pt x="322" y="1099"/>
                      </a:cubicBezTo>
                      <a:cubicBezTo>
                        <a:pt x="324" y="1101"/>
                        <a:pt x="323" y="1105"/>
                        <a:pt x="325" y="1108"/>
                      </a:cubicBezTo>
                      <a:cubicBezTo>
                        <a:pt x="327" y="1109"/>
                        <a:pt x="331" y="1108"/>
                        <a:pt x="332" y="1111"/>
                      </a:cubicBezTo>
                      <a:cubicBezTo>
                        <a:pt x="333" y="1115"/>
                        <a:pt x="333" y="1120"/>
                        <a:pt x="330" y="1124"/>
                      </a:cubicBezTo>
                      <a:cubicBezTo>
                        <a:pt x="329" y="1126"/>
                        <a:pt x="323" y="1123"/>
                        <a:pt x="323" y="1125"/>
                      </a:cubicBezTo>
                      <a:cubicBezTo>
                        <a:pt x="322" y="1128"/>
                        <a:pt x="327" y="1129"/>
                        <a:pt x="329" y="1131"/>
                      </a:cubicBezTo>
                      <a:cubicBezTo>
                        <a:pt x="330" y="1133"/>
                        <a:pt x="329" y="1135"/>
                        <a:pt x="330" y="1137"/>
                      </a:cubicBezTo>
                      <a:cubicBezTo>
                        <a:pt x="330" y="1140"/>
                        <a:pt x="331" y="1145"/>
                        <a:pt x="330" y="1149"/>
                      </a:cubicBezTo>
                      <a:cubicBezTo>
                        <a:pt x="325" y="1164"/>
                        <a:pt x="307" y="1144"/>
                        <a:pt x="300" y="1154"/>
                      </a:cubicBezTo>
                      <a:cubicBezTo>
                        <a:pt x="293" y="1164"/>
                        <a:pt x="304" y="1178"/>
                        <a:pt x="300" y="1180"/>
                      </a:cubicBezTo>
                      <a:cubicBezTo>
                        <a:pt x="294" y="1184"/>
                        <a:pt x="284" y="1185"/>
                        <a:pt x="283" y="1185"/>
                      </a:cubicBezTo>
                      <a:cubicBezTo>
                        <a:pt x="282" y="1182"/>
                        <a:pt x="286" y="1180"/>
                        <a:pt x="285" y="1177"/>
                      </a:cubicBezTo>
                      <a:cubicBezTo>
                        <a:pt x="284" y="1174"/>
                        <a:pt x="283" y="1172"/>
                        <a:pt x="281" y="1169"/>
                      </a:cubicBezTo>
                      <a:cubicBezTo>
                        <a:pt x="279" y="1168"/>
                        <a:pt x="276" y="1168"/>
                        <a:pt x="274" y="1167"/>
                      </a:cubicBezTo>
                      <a:cubicBezTo>
                        <a:pt x="266" y="1158"/>
                        <a:pt x="265" y="1151"/>
                        <a:pt x="260" y="1146"/>
                      </a:cubicBezTo>
                      <a:cubicBezTo>
                        <a:pt x="258" y="1144"/>
                        <a:pt x="249" y="1139"/>
                        <a:pt x="248" y="1137"/>
                      </a:cubicBezTo>
                      <a:cubicBezTo>
                        <a:pt x="245" y="1134"/>
                        <a:pt x="247" y="1130"/>
                        <a:pt x="245" y="1127"/>
                      </a:cubicBezTo>
                      <a:cubicBezTo>
                        <a:pt x="237" y="1116"/>
                        <a:pt x="223" y="1115"/>
                        <a:pt x="214" y="1107"/>
                      </a:cubicBezTo>
                      <a:cubicBezTo>
                        <a:pt x="212" y="1105"/>
                        <a:pt x="221" y="1111"/>
                        <a:pt x="220" y="1109"/>
                      </a:cubicBezTo>
                      <a:cubicBezTo>
                        <a:pt x="219" y="1106"/>
                        <a:pt x="212" y="1107"/>
                        <a:pt x="212" y="1104"/>
                      </a:cubicBezTo>
                      <a:cubicBezTo>
                        <a:pt x="212" y="1095"/>
                        <a:pt x="230" y="1082"/>
                        <a:pt x="232" y="1074"/>
                      </a:cubicBezTo>
                      <a:cubicBezTo>
                        <a:pt x="232" y="1073"/>
                        <a:pt x="228" y="1074"/>
                        <a:pt x="228" y="1073"/>
                      </a:cubicBezTo>
                      <a:cubicBezTo>
                        <a:pt x="228" y="1070"/>
                        <a:pt x="230" y="1067"/>
                        <a:pt x="231" y="1065"/>
                      </a:cubicBezTo>
                      <a:cubicBezTo>
                        <a:pt x="231" y="1062"/>
                        <a:pt x="231" y="1058"/>
                        <a:pt x="233" y="1057"/>
                      </a:cubicBezTo>
                      <a:cubicBezTo>
                        <a:pt x="234" y="1056"/>
                        <a:pt x="239" y="1057"/>
                        <a:pt x="237" y="1058"/>
                      </a:cubicBezTo>
                      <a:close/>
                      <a:moveTo>
                        <a:pt x="446" y="0"/>
                      </a:moveTo>
                      <a:cubicBezTo>
                        <a:pt x="438" y="0"/>
                        <a:pt x="438" y="0"/>
                        <a:pt x="438" y="0"/>
                      </a:cubicBezTo>
                      <a:cubicBezTo>
                        <a:pt x="436" y="3"/>
                        <a:pt x="434" y="5"/>
                        <a:pt x="430" y="3"/>
                      </a:cubicBezTo>
                      <a:cubicBezTo>
                        <a:pt x="429" y="3"/>
                        <a:pt x="428" y="2"/>
                        <a:pt x="427" y="0"/>
                      </a:cubicBezTo>
                      <a:cubicBezTo>
                        <a:pt x="392" y="0"/>
                        <a:pt x="392" y="0"/>
                        <a:pt x="392" y="0"/>
                      </a:cubicBezTo>
                      <a:cubicBezTo>
                        <a:pt x="392" y="1"/>
                        <a:pt x="392" y="2"/>
                        <a:pt x="392" y="2"/>
                      </a:cubicBezTo>
                      <a:cubicBezTo>
                        <a:pt x="391" y="11"/>
                        <a:pt x="374" y="13"/>
                        <a:pt x="381" y="26"/>
                      </a:cubicBezTo>
                      <a:cubicBezTo>
                        <a:pt x="383" y="31"/>
                        <a:pt x="386" y="35"/>
                        <a:pt x="390" y="37"/>
                      </a:cubicBezTo>
                      <a:cubicBezTo>
                        <a:pt x="391" y="38"/>
                        <a:pt x="394" y="35"/>
                        <a:pt x="395" y="36"/>
                      </a:cubicBezTo>
                      <a:cubicBezTo>
                        <a:pt x="396" y="36"/>
                        <a:pt x="395" y="38"/>
                        <a:pt x="395" y="39"/>
                      </a:cubicBezTo>
                      <a:cubicBezTo>
                        <a:pt x="396" y="40"/>
                        <a:pt x="399" y="38"/>
                        <a:pt x="398" y="39"/>
                      </a:cubicBezTo>
                      <a:cubicBezTo>
                        <a:pt x="395" y="41"/>
                        <a:pt x="391" y="40"/>
                        <a:pt x="389" y="43"/>
                      </a:cubicBezTo>
                      <a:cubicBezTo>
                        <a:pt x="387" y="44"/>
                        <a:pt x="383" y="59"/>
                        <a:pt x="388" y="61"/>
                      </a:cubicBezTo>
                      <a:cubicBezTo>
                        <a:pt x="394" y="63"/>
                        <a:pt x="401" y="51"/>
                        <a:pt x="407" y="55"/>
                      </a:cubicBezTo>
                      <a:cubicBezTo>
                        <a:pt x="408" y="55"/>
                        <a:pt x="407" y="58"/>
                        <a:pt x="407" y="59"/>
                      </a:cubicBezTo>
                      <a:cubicBezTo>
                        <a:pt x="407" y="63"/>
                        <a:pt x="403" y="68"/>
                        <a:pt x="405" y="72"/>
                      </a:cubicBezTo>
                      <a:cubicBezTo>
                        <a:pt x="407" y="75"/>
                        <a:pt x="414" y="73"/>
                        <a:pt x="415" y="77"/>
                      </a:cubicBezTo>
                      <a:cubicBezTo>
                        <a:pt x="416" y="80"/>
                        <a:pt x="410" y="83"/>
                        <a:pt x="411" y="87"/>
                      </a:cubicBezTo>
                      <a:cubicBezTo>
                        <a:pt x="411" y="90"/>
                        <a:pt x="414" y="93"/>
                        <a:pt x="416" y="95"/>
                      </a:cubicBezTo>
                      <a:cubicBezTo>
                        <a:pt x="417" y="97"/>
                        <a:pt x="421" y="98"/>
                        <a:pt x="420" y="98"/>
                      </a:cubicBezTo>
                      <a:cubicBezTo>
                        <a:pt x="416" y="101"/>
                        <a:pt x="410" y="98"/>
                        <a:pt x="406" y="101"/>
                      </a:cubicBezTo>
                      <a:cubicBezTo>
                        <a:pt x="399" y="107"/>
                        <a:pt x="413" y="126"/>
                        <a:pt x="416" y="130"/>
                      </a:cubicBezTo>
                      <a:cubicBezTo>
                        <a:pt x="422" y="136"/>
                        <a:pt x="445" y="157"/>
                        <a:pt x="450" y="134"/>
                      </a:cubicBezTo>
                      <a:cubicBezTo>
                        <a:pt x="450" y="131"/>
                        <a:pt x="440" y="126"/>
                        <a:pt x="443" y="123"/>
                      </a:cubicBezTo>
                      <a:cubicBezTo>
                        <a:pt x="447" y="120"/>
                        <a:pt x="450" y="129"/>
                        <a:pt x="454" y="131"/>
                      </a:cubicBezTo>
                      <a:cubicBezTo>
                        <a:pt x="458" y="133"/>
                        <a:pt x="465" y="134"/>
                        <a:pt x="465" y="127"/>
                      </a:cubicBezTo>
                      <a:cubicBezTo>
                        <a:pt x="465" y="123"/>
                        <a:pt x="462" y="119"/>
                        <a:pt x="462" y="115"/>
                      </a:cubicBezTo>
                      <a:cubicBezTo>
                        <a:pt x="462" y="112"/>
                        <a:pt x="464" y="121"/>
                        <a:pt x="466" y="123"/>
                      </a:cubicBezTo>
                      <a:cubicBezTo>
                        <a:pt x="468" y="126"/>
                        <a:pt x="471" y="128"/>
                        <a:pt x="475" y="129"/>
                      </a:cubicBezTo>
                      <a:cubicBezTo>
                        <a:pt x="476" y="130"/>
                        <a:pt x="478" y="131"/>
                        <a:pt x="478" y="129"/>
                      </a:cubicBezTo>
                      <a:cubicBezTo>
                        <a:pt x="478" y="128"/>
                        <a:pt x="478" y="125"/>
                        <a:pt x="478" y="123"/>
                      </a:cubicBezTo>
                      <a:cubicBezTo>
                        <a:pt x="478" y="124"/>
                        <a:pt x="479" y="125"/>
                        <a:pt x="480" y="127"/>
                      </a:cubicBezTo>
                      <a:cubicBezTo>
                        <a:pt x="480" y="129"/>
                        <a:pt x="477" y="132"/>
                        <a:pt x="479" y="132"/>
                      </a:cubicBezTo>
                      <a:cubicBezTo>
                        <a:pt x="484" y="133"/>
                        <a:pt x="489" y="132"/>
                        <a:pt x="493" y="129"/>
                      </a:cubicBezTo>
                      <a:cubicBezTo>
                        <a:pt x="493" y="129"/>
                        <a:pt x="493" y="128"/>
                        <a:pt x="493" y="128"/>
                      </a:cubicBezTo>
                      <a:cubicBezTo>
                        <a:pt x="495" y="129"/>
                        <a:pt x="502" y="125"/>
                        <a:pt x="500" y="128"/>
                      </a:cubicBezTo>
                      <a:cubicBezTo>
                        <a:pt x="497" y="133"/>
                        <a:pt x="484" y="136"/>
                        <a:pt x="487" y="140"/>
                      </a:cubicBezTo>
                      <a:cubicBezTo>
                        <a:pt x="490" y="144"/>
                        <a:pt x="497" y="141"/>
                        <a:pt x="499" y="145"/>
                      </a:cubicBezTo>
                      <a:cubicBezTo>
                        <a:pt x="502" y="148"/>
                        <a:pt x="498" y="154"/>
                        <a:pt x="501" y="157"/>
                      </a:cubicBezTo>
                      <a:cubicBezTo>
                        <a:pt x="503" y="159"/>
                        <a:pt x="505" y="152"/>
                        <a:pt x="508" y="151"/>
                      </a:cubicBezTo>
                      <a:cubicBezTo>
                        <a:pt x="511" y="150"/>
                        <a:pt x="513" y="153"/>
                        <a:pt x="516" y="153"/>
                      </a:cubicBezTo>
                      <a:cubicBezTo>
                        <a:pt x="518" y="153"/>
                        <a:pt x="520" y="151"/>
                        <a:pt x="520" y="149"/>
                      </a:cubicBezTo>
                      <a:cubicBezTo>
                        <a:pt x="520" y="149"/>
                        <a:pt x="518" y="148"/>
                        <a:pt x="519" y="148"/>
                      </a:cubicBezTo>
                      <a:cubicBezTo>
                        <a:pt x="523" y="147"/>
                        <a:pt x="544" y="149"/>
                        <a:pt x="546" y="146"/>
                      </a:cubicBezTo>
                      <a:cubicBezTo>
                        <a:pt x="549" y="142"/>
                        <a:pt x="536" y="134"/>
                        <a:pt x="540" y="131"/>
                      </a:cubicBezTo>
                      <a:cubicBezTo>
                        <a:pt x="547" y="127"/>
                        <a:pt x="561" y="125"/>
                        <a:pt x="568" y="123"/>
                      </a:cubicBezTo>
                      <a:cubicBezTo>
                        <a:pt x="566" y="121"/>
                        <a:pt x="563" y="121"/>
                        <a:pt x="559" y="121"/>
                      </a:cubicBezTo>
                      <a:cubicBezTo>
                        <a:pt x="559" y="120"/>
                        <a:pt x="557" y="122"/>
                        <a:pt x="557" y="121"/>
                      </a:cubicBezTo>
                      <a:cubicBezTo>
                        <a:pt x="558" y="107"/>
                        <a:pt x="600" y="112"/>
                        <a:pt x="581" y="97"/>
                      </a:cubicBezTo>
                      <a:cubicBezTo>
                        <a:pt x="578" y="94"/>
                        <a:pt x="567" y="98"/>
                        <a:pt x="563" y="98"/>
                      </a:cubicBezTo>
                      <a:cubicBezTo>
                        <a:pt x="553" y="99"/>
                        <a:pt x="542" y="95"/>
                        <a:pt x="532" y="93"/>
                      </a:cubicBezTo>
                      <a:cubicBezTo>
                        <a:pt x="520" y="90"/>
                        <a:pt x="501" y="80"/>
                        <a:pt x="490" y="72"/>
                      </a:cubicBezTo>
                      <a:cubicBezTo>
                        <a:pt x="488" y="70"/>
                        <a:pt x="487" y="67"/>
                        <a:pt x="484" y="65"/>
                      </a:cubicBezTo>
                      <a:cubicBezTo>
                        <a:pt x="482" y="65"/>
                        <a:pt x="480" y="69"/>
                        <a:pt x="477" y="68"/>
                      </a:cubicBezTo>
                      <a:cubicBezTo>
                        <a:pt x="470" y="63"/>
                        <a:pt x="473" y="53"/>
                        <a:pt x="469" y="47"/>
                      </a:cubicBezTo>
                      <a:cubicBezTo>
                        <a:pt x="467" y="43"/>
                        <a:pt x="463" y="42"/>
                        <a:pt x="459" y="40"/>
                      </a:cubicBezTo>
                      <a:cubicBezTo>
                        <a:pt x="458" y="39"/>
                        <a:pt x="458" y="35"/>
                        <a:pt x="455" y="35"/>
                      </a:cubicBezTo>
                      <a:cubicBezTo>
                        <a:pt x="452" y="35"/>
                        <a:pt x="450" y="42"/>
                        <a:pt x="448" y="39"/>
                      </a:cubicBezTo>
                      <a:cubicBezTo>
                        <a:pt x="447" y="35"/>
                        <a:pt x="452" y="32"/>
                        <a:pt x="452" y="28"/>
                      </a:cubicBezTo>
                      <a:cubicBezTo>
                        <a:pt x="453" y="24"/>
                        <a:pt x="453" y="19"/>
                        <a:pt x="451" y="16"/>
                      </a:cubicBezTo>
                      <a:cubicBezTo>
                        <a:pt x="450" y="13"/>
                        <a:pt x="447" y="12"/>
                        <a:pt x="445" y="12"/>
                      </a:cubicBezTo>
                      <a:cubicBezTo>
                        <a:pt x="442" y="13"/>
                        <a:pt x="438" y="19"/>
                        <a:pt x="437" y="16"/>
                      </a:cubicBezTo>
                      <a:cubicBezTo>
                        <a:pt x="432" y="8"/>
                        <a:pt x="458" y="9"/>
                        <a:pt x="446" y="0"/>
                      </a:cubicBezTo>
                      <a:close/>
                      <a:moveTo>
                        <a:pt x="619" y="87"/>
                      </a:moveTo>
                      <a:cubicBezTo>
                        <a:pt x="623" y="82"/>
                        <a:pt x="640" y="93"/>
                        <a:pt x="643" y="93"/>
                      </a:cubicBezTo>
                      <a:cubicBezTo>
                        <a:pt x="652" y="94"/>
                        <a:pt x="686" y="86"/>
                        <a:pt x="686" y="103"/>
                      </a:cubicBezTo>
                      <a:cubicBezTo>
                        <a:pt x="686" y="107"/>
                        <a:pt x="672" y="119"/>
                        <a:pt x="670" y="119"/>
                      </a:cubicBezTo>
                      <a:cubicBezTo>
                        <a:pt x="665" y="119"/>
                        <a:pt x="662" y="112"/>
                        <a:pt x="658" y="112"/>
                      </a:cubicBezTo>
                      <a:cubicBezTo>
                        <a:pt x="654" y="113"/>
                        <a:pt x="652" y="118"/>
                        <a:pt x="649" y="121"/>
                      </a:cubicBezTo>
                      <a:cubicBezTo>
                        <a:pt x="647" y="120"/>
                        <a:pt x="622" y="115"/>
                        <a:pt x="620" y="110"/>
                      </a:cubicBezTo>
                      <a:cubicBezTo>
                        <a:pt x="620" y="107"/>
                        <a:pt x="628" y="106"/>
                        <a:pt x="627" y="104"/>
                      </a:cubicBezTo>
                      <a:cubicBezTo>
                        <a:pt x="626" y="101"/>
                        <a:pt x="620" y="106"/>
                        <a:pt x="618" y="104"/>
                      </a:cubicBezTo>
                      <a:cubicBezTo>
                        <a:pt x="616" y="103"/>
                        <a:pt x="620" y="102"/>
                        <a:pt x="620" y="100"/>
                      </a:cubicBezTo>
                      <a:cubicBezTo>
                        <a:pt x="620" y="95"/>
                        <a:pt x="616" y="90"/>
                        <a:pt x="619" y="87"/>
                      </a:cubicBezTo>
                      <a:close/>
                      <a:moveTo>
                        <a:pt x="493" y="297"/>
                      </a:moveTo>
                      <a:cubicBezTo>
                        <a:pt x="503" y="298"/>
                        <a:pt x="508" y="296"/>
                        <a:pt x="516" y="303"/>
                      </a:cubicBezTo>
                      <a:cubicBezTo>
                        <a:pt x="518" y="305"/>
                        <a:pt x="520" y="312"/>
                        <a:pt x="520" y="315"/>
                      </a:cubicBezTo>
                      <a:cubicBezTo>
                        <a:pt x="518" y="318"/>
                        <a:pt x="518" y="305"/>
                        <a:pt x="514" y="305"/>
                      </a:cubicBezTo>
                      <a:cubicBezTo>
                        <a:pt x="510" y="305"/>
                        <a:pt x="515" y="329"/>
                        <a:pt x="515" y="329"/>
                      </a:cubicBezTo>
                      <a:cubicBezTo>
                        <a:pt x="515" y="336"/>
                        <a:pt x="508" y="348"/>
                        <a:pt x="503" y="353"/>
                      </a:cubicBezTo>
                      <a:cubicBezTo>
                        <a:pt x="502" y="353"/>
                        <a:pt x="501" y="351"/>
                        <a:pt x="499" y="352"/>
                      </a:cubicBezTo>
                      <a:cubicBezTo>
                        <a:pt x="486" y="357"/>
                        <a:pt x="482" y="349"/>
                        <a:pt x="475" y="338"/>
                      </a:cubicBezTo>
                      <a:cubicBezTo>
                        <a:pt x="462" y="316"/>
                        <a:pt x="462" y="296"/>
                        <a:pt x="493" y="297"/>
                      </a:cubicBezTo>
                      <a:close/>
                      <a:moveTo>
                        <a:pt x="411" y="1066"/>
                      </a:moveTo>
                      <a:cubicBezTo>
                        <a:pt x="402" y="1068"/>
                        <a:pt x="412" y="1057"/>
                        <a:pt x="395" y="1041"/>
                      </a:cubicBezTo>
                      <a:cubicBezTo>
                        <a:pt x="388" y="1033"/>
                        <a:pt x="333" y="1031"/>
                        <a:pt x="354" y="1011"/>
                      </a:cubicBezTo>
                      <a:cubicBezTo>
                        <a:pt x="323" y="998"/>
                        <a:pt x="351" y="998"/>
                        <a:pt x="341" y="981"/>
                      </a:cubicBezTo>
                      <a:cubicBezTo>
                        <a:pt x="348" y="982"/>
                        <a:pt x="357" y="1001"/>
                        <a:pt x="370" y="1008"/>
                      </a:cubicBezTo>
                      <a:cubicBezTo>
                        <a:pt x="370" y="998"/>
                        <a:pt x="362" y="988"/>
                        <a:pt x="365" y="986"/>
                      </a:cubicBezTo>
                      <a:cubicBezTo>
                        <a:pt x="386" y="954"/>
                        <a:pt x="341" y="962"/>
                        <a:pt x="323" y="945"/>
                      </a:cubicBezTo>
                      <a:cubicBezTo>
                        <a:pt x="341" y="943"/>
                        <a:pt x="353" y="951"/>
                        <a:pt x="372" y="957"/>
                      </a:cubicBezTo>
                      <a:cubicBezTo>
                        <a:pt x="379" y="994"/>
                        <a:pt x="387" y="998"/>
                        <a:pt x="404" y="1012"/>
                      </a:cubicBezTo>
                      <a:cubicBezTo>
                        <a:pt x="432" y="1026"/>
                        <a:pt x="430" y="1047"/>
                        <a:pt x="423" y="1047"/>
                      </a:cubicBezTo>
                      <a:cubicBezTo>
                        <a:pt x="416" y="1046"/>
                        <a:pt x="421" y="1065"/>
                        <a:pt x="411" y="1066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  <p:sp>
              <p:nvSpPr>
                <p:cNvPr id="143" name="Freeform 97"/>
                <p:cNvSpPr>
                  <a:spLocks noEditPoints="1"/>
                </p:cNvSpPr>
                <p:nvPr/>
              </p:nvSpPr>
              <p:spPr bwMode="auto">
                <a:xfrm>
                  <a:off x="5781397" y="3920172"/>
                  <a:ext cx="226588" cy="135396"/>
                </a:xfrm>
                <a:custGeom>
                  <a:avLst/>
                  <a:gdLst>
                    <a:gd name="T0" fmla="*/ 136 w 136"/>
                    <a:gd name="T1" fmla="*/ 57 h 75"/>
                    <a:gd name="T2" fmla="*/ 132 w 136"/>
                    <a:gd name="T3" fmla="*/ 19 h 75"/>
                    <a:gd name="T4" fmla="*/ 125 w 136"/>
                    <a:gd name="T5" fmla="*/ 14 h 75"/>
                    <a:gd name="T6" fmla="*/ 122 w 136"/>
                    <a:gd name="T7" fmla="*/ 14 h 75"/>
                    <a:gd name="T8" fmla="*/ 119 w 136"/>
                    <a:gd name="T9" fmla="*/ 7 h 75"/>
                    <a:gd name="T10" fmla="*/ 94 w 136"/>
                    <a:gd name="T11" fmla="*/ 13 h 75"/>
                    <a:gd name="T12" fmla="*/ 94 w 136"/>
                    <a:gd name="T13" fmla="*/ 10 h 75"/>
                    <a:gd name="T14" fmla="*/ 68 w 136"/>
                    <a:gd name="T15" fmla="*/ 5 h 75"/>
                    <a:gd name="T16" fmla="*/ 65 w 136"/>
                    <a:gd name="T17" fmla="*/ 0 h 75"/>
                    <a:gd name="T18" fmla="*/ 61 w 136"/>
                    <a:gd name="T19" fmla="*/ 3 h 75"/>
                    <a:gd name="T20" fmla="*/ 61 w 136"/>
                    <a:gd name="T21" fmla="*/ 7 h 75"/>
                    <a:gd name="T22" fmla="*/ 58 w 136"/>
                    <a:gd name="T23" fmla="*/ 7 h 75"/>
                    <a:gd name="T24" fmla="*/ 63 w 136"/>
                    <a:gd name="T25" fmla="*/ 26 h 75"/>
                    <a:gd name="T26" fmla="*/ 33 w 136"/>
                    <a:gd name="T27" fmla="*/ 29 h 75"/>
                    <a:gd name="T28" fmla="*/ 34 w 136"/>
                    <a:gd name="T29" fmla="*/ 26 h 75"/>
                    <a:gd name="T30" fmla="*/ 12 w 136"/>
                    <a:gd name="T31" fmla="*/ 33 h 75"/>
                    <a:gd name="T32" fmla="*/ 9 w 136"/>
                    <a:gd name="T33" fmla="*/ 34 h 75"/>
                    <a:gd name="T34" fmla="*/ 11 w 136"/>
                    <a:gd name="T35" fmla="*/ 48 h 75"/>
                    <a:gd name="T36" fmla="*/ 0 w 136"/>
                    <a:gd name="T37" fmla="*/ 71 h 75"/>
                    <a:gd name="T38" fmla="*/ 135 w 136"/>
                    <a:gd name="T39" fmla="*/ 57 h 75"/>
                    <a:gd name="T40" fmla="*/ 136 w 136"/>
                    <a:gd name="T41" fmla="*/ 57 h 75"/>
                    <a:gd name="T42" fmla="*/ 48 w 136"/>
                    <a:gd name="T43" fmla="*/ 2 h 75"/>
                    <a:gd name="T44" fmla="*/ 47 w 136"/>
                    <a:gd name="T45" fmla="*/ 2 h 75"/>
                    <a:gd name="T46" fmla="*/ 45 w 136"/>
                    <a:gd name="T47" fmla="*/ 8 h 75"/>
                    <a:gd name="T48" fmla="*/ 48 w 136"/>
                    <a:gd name="T49" fmla="*/ 2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6" h="75">
                      <a:moveTo>
                        <a:pt x="136" y="57"/>
                      </a:moveTo>
                      <a:cubicBezTo>
                        <a:pt x="123" y="40"/>
                        <a:pt x="135" y="24"/>
                        <a:pt x="132" y="19"/>
                      </a:cubicBezTo>
                      <a:cubicBezTo>
                        <a:pt x="130" y="17"/>
                        <a:pt x="128" y="15"/>
                        <a:pt x="125" y="14"/>
                      </a:cubicBezTo>
                      <a:cubicBezTo>
                        <a:pt x="124" y="13"/>
                        <a:pt x="123" y="15"/>
                        <a:pt x="122" y="14"/>
                      </a:cubicBezTo>
                      <a:cubicBezTo>
                        <a:pt x="120" y="13"/>
                        <a:pt x="121" y="8"/>
                        <a:pt x="119" y="7"/>
                      </a:cubicBezTo>
                      <a:cubicBezTo>
                        <a:pt x="111" y="5"/>
                        <a:pt x="103" y="13"/>
                        <a:pt x="94" y="13"/>
                      </a:cubicBezTo>
                      <a:cubicBezTo>
                        <a:pt x="93" y="13"/>
                        <a:pt x="95" y="11"/>
                        <a:pt x="94" y="10"/>
                      </a:cubicBezTo>
                      <a:cubicBezTo>
                        <a:pt x="86" y="8"/>
                        <a:pt x="75" y="9"/>
                        <a:pt x="68" y="5"/>
                      </a:cubicBezTo>
                      <a:cubicBezTo>
                        <a:pt x="67" y="4"/>
                        <a:pt x="67" y="1"/>
                        <a:pt x="65" y="0"/>
                      </a:cubicBezTo>
                      <a:cubicBezTo>
                        <a:pt x="63" y="0"/>
                        <a:pt x="63" y="2"/>
                        <a:pt x="61" y="3"/>
                      </a:cubicBezTo>
                      <a:cubicBezTo>
                        <a:pt x="61" y="5"/>
                        <a:pt x="61" y="6"/>
                        <a:pt x="61" y="7"/>
                      </a:cubicBezTo>
                      <a:cubicBezTo>
                        <a:pt x="60" y="8"/>
                        <a:pt x="58" y="6"/>
                        <a:pt x="58" y="7"/>
                      </a:cubicBezTo>
                      <a:cubicBezTo>
                        <a:pt x="57" y="14"/>
                        <a:pt x="65" y="19"/>
                        <a:pt x="63" y="26"/>
                      </a:cubicBezTo>
                      <a:cubicBezTo>
                        <a:pt x="61" y="33"/>
                        <a:pt x="32" y="32"/>
                        <a:pt x="33" y="29"/>
                      </a:cubicBezTo>
                      <a:cubicBezTo>
                        <a:pt x="33" y="28"/>
                        <a:pt x="34" y="27"/>
                        <a:pt x="34" y="26"/>
                      </a:cubicBezTo>
                      <a:cubicBezTo>
                        <a:pt x="28" y="32"/>
                        <a:pt x="21" y="31"/>
                        <a:pt x="12" y="33"/>
                      </a:cubicBezTo>
                      <a:cubicBezTo>
                        <a:pt x="11" y="33"/>
                        <a:pt x="9" y="33"/>
                        <a:pt x="9" y="34"/>
                      </a:cubicBezTo>
                      <a:cubicBezTo>
                        <a:pt x="9" y="39"/>
                        <a:pt x="11" y="43"/>
                        <a:pt x="11" y="48"/>
                      </a:cubicBezTo>
                      <a:cubicBezTo>
                        <a:pt x="11" y="56"/>
                        <a:pt x="7" y="64"/>
                        <a:pt x="0" y="71"/>
                      </a:cubicBezTo>
                      <a:cubicBezTo>
                        <a:pt x="33" y="75"/>
                        <a:pt x="109" y="73"/>
                        <a:pt x="135" y="57"/>
                      </a:cubicBezTo>
                      <a:cubicBezTo>
                        <a:pt x="135" y="57"/>
                        <a:pt x="135" y="57"/>
                        <a:pt x="136" y="57"/>
                      </a:cubicBezTo>
                      <a:close/>
                      <a:moveTo>
                        <a:pt x="48" y="2"/>
                      </a:move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4"/>
                        <a:pt x="46" y="6"/>
                        <a:pt x="45" y="8"/>
                      </a:cubicBezTo>
                      <a:cubicBezTo>
                        <a:pt x="46" y="6"/>
                        <a:pt x="47" y="4"/>
                        <a:pt x="48" y="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</p:grpSp>
          <p:sp>
            <p:nvSpPr>
              <p:cNvPr id="140" name="Freeform 2"/>
              <p:cNvSpPr>
                <a:spLocks/>
              </p:cNvSpPr>
              <p:nvPr/>
            </p:nvSpPr>
            <p:spPr bwMode="auto">
              <a:xfrm>
                <a:off x="5856928" y="5492352"/>
                <a:ext cx="182159" cy="234154"/>
              </a:xfrm>
              <a:custGeom>
                <a:avLst/>
                <a:gdLst>
                  <a:gd name="T0" fmla="*/ 6 w 109"/>
                  <a:gd name="T1" fmla="*/ 88 h 130"/>
                  <a:gd name="T2" fmla="*/ 7 w 109"/>
                  <a:gd name="T3" fmla="*/ 92 h 130"/>
                  <a:gd name="T4" fmla="*/ 15 w 109"/>
                  <a:gd name="T5" fmla="*/ 92 h 130"/>
                  <a:gd name="T6" fmla="*/ 13 w 109"/>
                  <a:gd name="T7" fmla="*/ 96 h 130"/>
                  <a:gd name="T8" fmla="*/ 24 w 109"/>
                  <a:gd name="T9" fmla="*/ 103 h 130"/>
                  <a:gd name="T10" fmla="*/ 31 w 109"/>
                  <a:gd name="T11" fmla="*/ 101 h 130"/>
                  <a:gd name="T12" fmla="*/ 32 w 109"/>
                  <a:gd name="T13" fmla="*/ 107 h 130"/>
                  <a:gd name="T14" fmla="*/ 46 w 109"/>
                  <a:gd name="T15" fmla="*/ 117 h 130"/>
                  <a:gd name="T16" fmla="*/ 48 w 109"/>
                  <a:gd name="T17" fmla="*/ 124 h 130"/>
                  <a:gd name="T18" fmla="*/ 61 w 109"/>
                  <a:gd name="T19" fmla="*/ 130 h 130"/>
                  <a:gd name="T20" fmla="*/ 61 w 109"/>
                  <a:gd name="T21" fmla="*/ 119 h 130"/>
                  <a:gd name="T22" fmla="*/ 61 w 109"/>
                  <a:gd name="T23" fmla="*/ 112 h 130"/>
                  <a:gd name="T24" fmla="*/ 53 w 109"/>
                  <a:gd name="T25" fmla="*/ 106 h 130"/>
                  <a:gd name="T26" fmla="*/ 73 w 109"/>
                  <a:gd name="T27" fmla="*/ 68 h 130"/>
                  <a:gd name="T28" fmla="*/ 81 w 109"/>
                  <a:gd name="T29" fmla="*/ 82 h 130"/>
                  <a:gd name="T30" fmla="*/ 94 w 109"/>
                  <a:gd name="T31" fmla="*/ 72 h 130"/>
                  <a:gd name="T32" fmla="*/ 92 w 109"/>
                  <a:gd name="T33" fmla="*/ 60 h 130"/>
                  <a:gd name="T34" fmla="*/ 98 w 109"/>
                  <a:gd name="T35" fmla="*/ 56 h 130"/>
                  <a:gd name="T36" fmla="*/ 97 w 109"/>
                  <a:gd name="T37" fmla="*/ 51 h 130"/>
                  <a:gd name="T38" fmla="*/ 106 w 109"/>
                  <a:gd name="T39" fmla="*/ 47 h 130"/>
                  <a:gd name="T40" fmla="*/ 86 w 109"/>
                  <a:gd name="T41" fmla="*/ 31 h 130"/>
                  <a:gd name="T42" fmla="*/ 83 w 109"/>
                  <a:gd name="T43" fmla="*/ 18 h 130"/>
                  <a:gd name="T44" fmla="*/ 53 w 109"/>
                  <a:gd name="T45" fmla="*/ 3 h 130"/>
                  <a:gd name="T46" fmla="*/ 49 w 109"/>
                  <a:gd name="T47" fmla="*/ 2 h 130"/>
                  <a:gd name="T48" fmla="*/ 45 w 109"/>
                  <a:gd name="T49" fmla="*/ 0 h 130"/>
                  <a:gd name="T50" fmla="*/ 39 w 109"/>
                  <a:gd name="T51" fmla="*/ 9 h 130"/>
                  <a:gd name="T52" fmla="*/ 32 w 109"/>
                  <a:gd name="T53" fmla="*/ 9 h 130"/>
                  <a:gd name="T54" fmla="*/ 24 w 109"/>
                  <a:gd name="T55" fmla="*/ 10 h 130"/>
                  <a:gd name="T56" fmla="*/ 32 w 109"/>
                  <a:gd name="T57" fmla="*/ 31 h 130"/>
                  <a:gd name="T58" fmla="*/ 29 w 109"/>
                  <a:gd name="T59" fmla="*/ 31 h 130"/>
                  <a:gd name="T60" fmla="*/ 32 w 109"/>
                  <a:gd name="T61" fmla="*/ 31 h 130"/>
                  <a:gd name="T62" fmla="*/ 20 w 109"/>
                  <a:gd name="T63" fmla="*/ 23 h 130"/>
                  <a:gd name="T64" fmla="*/ 21 w 109"/>
                  <a:gd name="T65" fmla="*/ 22 h 130"/>
                  <a:gd name="T66" fmla="*/ 20 w 109"/>
                  <a:gd name="T67" fmla="*/ 23 h 130"/>
                  <a:gd name="T68" fmla="*/ 11 w 109"/>
                  <a:gd name="T69" fmla="*/ 48 h 130"/>
                  <a:gd name="T70" fmla="*/ 6 w 109"/>
                  <a:gd name="T71" fmla="*/ 50 h 130"/>
                  <a:gd name="T72" fmla="*/ 3 w 109"/>
                  <a:gd name="T73" fmla="*/ 54 h 130"/>
                  <a:gd name="T74" fmla="*/ 5 w 109"/>
                  <a:gd name="T75" fmla="*/ 83 h 130"/>
                  <a:gd name="T76" fmla="*/ 7 w 109"/>
                  <a:gd name="T77" fmla="*/ 83 h 130"/>
                  <a:gd name="T78" fmla="*/ 8 w 109"/>
                  <a:gd name="T79" fmla="*/ 92 h 130"/>
                  <a:gd name="T80" fmla="*/ 6 w 109"/>
                  <a:gd name="T81" fmla="*/ 8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9" h="130">
                    <a:moveTo>
                      <a:pt x="6" y="88"/>
                    </a:moveTo>
                    <a:cubicBezTo>
                      <a:pt x="7" y="92"/>
                      <a:pt x="7" y="92"/>
                      <a:pt x="7" y="92"/>
                    </a:cubicBezTo>
                    <a:cubicBezTo>
                      <a:pt x="10" y="92"/>
                      <a:pt x="12" y="92"/>
                      <a:pt x="15" y="92"/>
                    </a:cubicBezTo>
                    <a:cubicBezTo>
                      <a:pt x="14" y="94"/>
                      <a:pt x="13" y="95"/>
                      <a:pt x="13" y="96"/>
                    </a:cubicBezTo>
                    <a:cubicBezTo>
                      <a:pt x="18" y="107"/>
                      <a:pt x="21" y="105"/>
                      <a:pt x="24" y="103"/>
                    </a:cubicBezTo>
                    <a:cubicBezTo>
                      <a:pt x="26" y="101"/>
                      <a:pt x="28" y="100"/>
                      <a:pt x="31" y="101"/>
                    </a:cubicBezTo>
                    <a:cubicBezTo>
                      <a:pt x="32" y="103"/>
                      <a:pt x="31" y="105"/>
                      <a:pt x="32" y="107"/>
                    </a:cubicBezTo>
                    <a:cubicBezTo>
                      <a:pt x="37" y="112"/>
                      <a:pt x="43" y="111"/>
                      <a:pt x="46" y="117"/>
                    </a:cubicBezTo>
                    <a:cubicBezTo>
                      <a:pt x="48" y="119"/>
                      <a:pt x="46" y="122"/>
                      <a:pt x="48" y="124"/>
                    </a:cubicBezTo>
                    <a:cubicBezTo>
                      <a:pt x="52" y="127"/>
                      <a:pt x="56" y="129"/>
                      <a:pt x="61" y="130"/>
                    </a:cubicBezTo>
                    <a:cubicBezTo>
                      <a:pt x="61" y="126"/>
                      <a:pt x="61" y="122"/>
                      <a:pt x="61" y="119"/>
                    </a:cubicBezTo>
                    <a:cubicBezTo>
                      <a:pt x="61" y="117"/>
                      <a:pt x="62" y="114"/>
                      <a:pt x="61" y="112"/>
                    </a:cubicBezTo>
                    <a:cubicBezTo>
                      <a:pt x="59" y="109"/>
                      <a:pt x="54" y="109"/>
                      <a:pt x="53" y="106"/>
                    </a:cubicBezTo>
                    <a:cubicBezTo>
                      <a:pt x="53" y="105"/>
                      <a:pt x="71" y="69"/>
                      <a:pt x="73" y="68"/>
                    </a:cubicBezTo>
                    <a:cubicBezTo>
                      <a:pt x="74" y="67"/>
                      <a:pt x="76" y="81"/>
                      <a:pt x="81" y="82"/>
                    </a:cubicBezTo>
                    <a:cubicBezTo>
                      <a:pt x="94" y="72"/>
                      <a:pt x="94" y="72"/>
                      <a:pt x="94" y="72"/>
                    </a:cubicBezTo>
                    <a:cubicBezTo>
                      <a:pt x="93" y="66"/>
                      <a:pt x="94" y="66"/>
                      <a:pt x="92" y="60"/>
                    </a:cubicBezTo>
                    <a:cubicBezTo>
                      <a:pt x="91" y="57"/>
                      <a:pt x="95" y="59"/>
                      <a:pt x="98" y="56"/>
                    </a:cubicBezTo>
                    <a:cubicBezTo>
                      <a:pt x="100" y="55"/>
                      <a:pt x="99" y="53"/>
                      <a:pt x="97" y="51"/>
                    </a:cubicBezTo>
                    <a:cubicBezTo>
                      <a:pt x="95" y="49"/>
                      <a:pt x="109" y="49"/>
                      <a:pt x="106" y="47"/>
                    </a:cubicBezTo>
                    <a:cubicBezTo>
                      <a:pt x="99" y="42"/>
                      <a:pt x="92" y="34"/>
                      <a:pt x="86" y="31"/>
                    </a:cubicBezTo>
                    <a:cubicBezTo>
                      <a:pt x="82" y="29"/>
                      <a:pt x="87" y="22"/>
                      <a:pt x="83" y="18"/>
                    </a:cubicBezTo>
                    <a:cubicBezTo>
                      <a:pt x="76" y="11"/>
                      <a:pt x="59" y="7"/>
                      <a:pt x="53" y="3"/>
                    </a:cubicBezTo>
                    <a:cubicBezTo>
                      <a:pt x="52" y="4"/>
                      <a:pt x="51" y="3"/>
                      <a:pt x="49" y="2"/>
                    </a:cubicBezTo>
                    <a:cubicBezTo>
                      <a:pt x="48" y="1"/>
                      <a:pt x="47" y="0"/>
                      <a:pt x="45" y="0"/>
                    </a:cubicBezTo>
                    <a:cubicBezTo>
                      <a:pt x="42" y="1"/>
                      <a:pt x="41" y="6"/>
                      <a:pt x="39" y="9"/>
                    </a:cubicBezTo>
                    <a:cubicBezTo>
                      <a:pt x="38" y="9"/>
                      <a:pt x="35" y="9"/>
                      <a:pt x="32" y="9"/>
                    </a:cubicBezTo>
                    <a:cubicBezTo>
                      <a:pt x="28" y="9"/>
                      <a:pt x="24" y="9"/>
                      <a:pt x="24" y="10"/>
                    </a:cubicBezTo>
                    <a:cubicBezTo>
                      <a:pt x="22" y="18"/>
                      <a:pt x="36" y="19"/>
                      <a:pt x="32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26" y="27"/>
                      <a:pt x="26" y="23"/>
                      <a:pt x="20" y="23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2" y="32"/>
                      <a:pt x="13" y="45"/>
                      <a:pt x="11" y="48"/>
                    </a:cubicBezTo>
                    <a:cubicBezTo>
                      <a:pt x="9" y="51"/>
                      <a:pt x="7" y="51"/>
                      <a:pt x="6" y="50"/>
                    </a:cubicBezTo>
                    <a:cubicBezTo>
                      <a:pt x="5" y="50"/>
                      <a:pt x="4" y="49"/>
                      <a:pt x="3" y="54"/>
                    </a:cubicBezTo>
                    <a:cubicBezTo>
                      <a:pt x="0" y="70"/>
                      <a:pt x="18" y="71"/>
                      <a:pt x="5" y="83"/>
                    </a:cubicBezTo>
                    <a:cubicBezTo>
                      <a:pt x="7" y="83"/>
                      <a:pt x="7" y="83"/>
                      <a:pt x="7" y="83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7" y="90"/>
                      <a:pt x="7" y="89"/>
                      <a:pt x="6" y="88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41" name="Freeform 1"/>
              <p:cNvSpPr>
                <a:spLocks/>
              </p:cNvSpPr>
              <p:nvPr/>
            </p:nvSpPr>
            <p:spPr bwMode="auto">
              <a:xfrm>
                <a:off x="5850993" y="5137135"/>
                <a:ext cx="420596" cy="584590"/>
              </a:xfrm>
              <a:custGeom>
                <a:avLst/>
                <a:gdLst>
                  <a:gd name="T0" fmla="*/ 108 w 251"/>
                  <a:gd name="T1" fmla="*/ 286 h 325"/>
                  <a:gd name="T2" fmla="*/ 114 w 251"/>
                  <a:gd name="T3" fmla="*/ 285 h 325"/>
                  <a:gd name="T4" fmla="*/ 129 w 251"/>
                  <a:gd name="T5" fmla="*/ 315 h 325"/>
                  <a:gd name="T6" fmla="*/ 141 w 251"/>
                  <a:gd name="T7" fmla="*/ 299 h 325"/>
                  <a:gd name="T8" fmla="*/ 170 w 251"/>
                  <a:gd name="T9" fmla="*/ 293 h 325"/>
                  <a:gd name="T10" fmla="*/ 181 w 251"/>
                  <a:gd name="T11" fmla="*/ 280 h 325"/>
                  <a:gd name="T12" fmla="*/ 224 w 251"/>
                  <a:gd name="T13" fmla="*/ 268 h 325"/>
                  <a:gd name="T14" fmla="*/ 228 w 251"/>
                  <a:gd name="T15" fmla="*/ 250 h 325"/>
                  <a:gd name="T16" fmla="*/ 224 w 251"/>
                  <a:gd name="T17" fmla="*/ 249 h 325"/>
                  <a:gd name="T18" fmla="*/ 221 w 251"/>
                  <a:gd name="T19" fmla="*/ 231 h 325"/>
                  <a:gd name="T20" fmla="*/ 237 w 251"/>
                  <a:gd name="T21" fmla="*/ 223 h 325"/>
                  <a:gd name="T22" fmla="*/ 220 w 251"/>
                  <a:gd name="T23" fmla="*/ 183 h 325"/>
                  <a:gd name="T24" fmla="*/ 217 w 251"/>
                  <a:gd name="T25" fmla="*/ 138 h 325"/>
                  <a:gd name="T26" fmla="*/ 204 w 251"/>
                  <a:gd name="T27" fmla="*/ 108 h 325"/>
                  <a:gd name="T28" fmla="*/ 187 w 251"/>
                  <a:gd name="T29" fmla="*/ 111 h 325"/>
                  <a:gd name="T30" fmla="*/ 167 w 251"/>
                  <a:gd name="T31" fmla="*/ 102 h 325"/>
                  <a:gd name="T32" fmla="*/ 155 w 251"/>
                  <a:gd name="T33" fmla="*/ 97 h 325"/>
                  <a:gd name="T34" fmla="*/ 142 w 251"/>
                  <a:gd name="T35" fmla="*/ 90 h 325"/>
                  <a:gd name="T36" fmla="*/ 141 w 251"/>
                  <a:gd name="T37" fmla="*/ 80 h 325"/>
                  <a:gd name="T38" fmla="*/ 105 w 251"/>
                  <a:gd name="T39" fmla="*/ 50 h 325"/>
                  <a:gd name="T40" fmla="*/ 103 w 251"/>
                  <a:gd name="T41" fmla="*/ 29 h 325"/>
                  <a:gd name="T42" fmla="*/ 91 w 251"/>
                  <a:gd name="T43" fmla="*/ 20 h 325"/>
                  <a:gd name="T44" fmla="*/ 72 w 251"/>
                  <a:gd name="T45" fmla="*/ 7 h 325"/>
                  <a:gd name="T46" fmla="*/ 48 w 251"/>
                  <a:gd name="T47" fmla="*/ 9 h 325"/>
                  <a:gd name="T48" fmla="*/ 21 w 251"/>
                  <a:gd name="T49" fmla="*/ 23 h 325"/>
                  <a:gd name="T50" fmla="*/ 12 w 251"/>
                  <a:gd name="T51" fmla="*/ 23 h 325"/>
                  <a:gd name="T52" fmla="*/ 0 w 251"/>
                  <a:gd name="T53" fmla="*/ 33 h 325"/>
                  <a:gd name="T54" fmla="*/ 12 w 251"/>
                  <a:gd name="T55" fmla="*/ 58 h 325"/>
                  <a:gd name="T56" fmla="*/ 14 w 251"/>
                  <a:gd name="T57" fmla="*/ 61 h 325"/>
                  <a:gd name="T58" fmla="*/ 15 w 251"/>
                  <a:gd name="T59" fmla="*/ 67 h 325"/>
                  <a:gd name="T60" fmla="*/ 36 w 251"/>
                  <a:gd name="T61" fmla="*/ 78 h 325"/>
                  <a:gd name="T62" fmla="*/ 23 w 251"/>
                  <a:gd name="T63" fmla="*/ 81 h 325"/>
                  <a:gd name="T64" fmla="*/ 25 w 251"/>
                  <a:gd name="T65" fmla="*/ 101 h 325"/>
                  <a:gd name="T66" fmla="*/ 36 w 251"/>
                  <a:gd name="T67" fmla="*/ 103 h 325"/>
                  <a:gd name="T68" fmla="*/ 34 w 251"/>
                  <a:gd name="T69" fmla="*/ 149 h 325"/>
                  <a:gd name="T70" fmla="*/ 52 w 251"/>
                  <a:gd name="T71" fmla="*/ 162 h 325"/>
                  <a:gd name="T72" fmla="*/ 45 w 251"/>
                  <a:gd name="T73" fmla="*/ 170 h 325"/>
                  <a:gd name="T74" fmla="*/ 56 w 251"/>
                  <a:gd name="T75" fmla="*/ 200 h 325"/>
                  <a:gd name="T76" fmla="*/ 90 w 251"/>
                  <a:gd name="T77" fmla="*/ 230 h 325"/>
                  <a:gd name="T78" fmla="*/ 101 w 251"/>
                  <a:gd name="T79" fmla="*/ 249 h 325"/>
                  <a:gd name="T80" fmla="*/ 97 w 251"/>
                  <a:gd name="T81" fmla="*/ 26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1" h="325">
                    <a:moveTo>
                      <a:pt x="96" y="269"/>
                    </a:moveTo>
                    <a:cubicBezTo>
                      <a:pt x="105" y="269"/>
                      <a:pt x="103" y="283"/>
                      <a:pt x="108" y="286"/>
                    </a:cubicBezTo>
                    <a:cubicBezTo>
                      <a:pt x="109" y="287"/>
                      <a:pt x="110" y="286"/>
                      <a:pt x="111" y="286"/>
                    </a:cubicBezTo>
                    <a:cubicBezTo>
                      <a:pt x="112" y="286"/>
                      <a:pt x="113" y="285"/>
                      <a:pt x="114" y="285"/>
                    </a:cubicBezTo>
                    <a:cubicBezTo>
                      <a:pt x="118" y="287"/>
                      <a:pt x="122" y="288"/>
                      <a:pt x="125" y="291"/>
                    </a:cubicBezTo>
                    <a:cubicBezTo>
                      <a:pt x="132" y="299"/>
                      <a:pt x="131" y="307"/>
                      <a:pt x="129" y="315"/>
                    </a:cubicBezTo>
                    <a:cubicBezTo>
                      <a:pt x="131" y="315"/>
                      <a:pt x="131" y="315"/>
                      <a:pt x="131" y="315"/>
                    </a:cubicBezTo>
                    <a:cubicBezTo>
                      <a:pt x="145" y="325"/>
                      <a:pt x="137" y="301"/>
                      <a:pt x="141" y="299"/>
                    </a:cubicBezTo>
                    <a:cubicBezTo>
                      <a:pt x="147" y="295"/>
                      <a:pt x="154" y="290"/>
                      <a:pt x="161" y="289"/>
                    </a:cubicBezTo>
                    <a:cubicBezTo>
                      <a:pt x="164" y="289"/>
                      <a:pt x="169" y="296"/>
                      <a:pt x="170" y="293"/>
                    </a:cubicBezTo>
                    <a:cubicBezTo>
                      <a:pt x="171" y="291"/>
                      <a:pt x="168" y="289"/>
                      <a:pt x="169" y="287"/>
                    </a:cubicBezTo>
                    <a:cubicBezTo>
                      <a:pt x="172" y="279"/>
                      <a:pt x="176" y="279"/>
                      <a:pt x="181" y="280"/>
                    </a:cubicBezTo>
                    <a:cubicBezTo>
                      <a:pt x="183" y="281"/>
                      <a:pt x="186" y="281"/>
                      <a:pt x="189" y="280"/>
                    </a:cubicBezTo>
                    <a:cubicBezTo>
                      <a:pt x="198" y="279"/>
                      <a:pt x="216" y="261"/>
                      <a:pt x="224" y="268"/>
                    </a:cubicBezTo>
                    <a:cubicBezTo>
                      <a:pt x="227" y="263"/>
                      <a:pt x="234" y="262"/>
                      <a:pt x="232" y="254"/>
                    </a:cubicBezTo>
                    <a:cubicBezTo>
                      <a:pt x="231" y="252"/>
                      <a:pt x="229" y="251"/>
                      <a:pt x="228" y="250"/>
                    </a:cubicBezTo>
                    <a:cubicBezTo>
                      <a:pt x="227" y="250"/>
                      <a:pt x="227" y="250"/>
                      <a:pt x="226" y="250"/>
                    </a:cubicBezTo>
                    <a:cubicBezTo>
                      <a:pt x="225" y="250"/>
                      <a:pt x="225" y="250"/>
                      <a:pt x="224" y="249"/>
                    </a:cubicBezTo>
                    <a:cubicBezTo>
                      <a:pt x="224" y="246"/>
                      <a:pt x="224" y="244"/>
                      <a:pt x="224" y="241"/>
                    </a:cubicBezTo>
                    <a:cubicBezTo>
                      <a:pt x="224" y="237"/>
                      <a:pt x="220" y="234"/>
                      <a:pt x="221" y="231"/>
                    </a:cubicBezTo>
                    <a:cubicBezTo>
                      <a:pt x="231" y="216"/>
                      <a:pt x="229" y="220"/>
                      <a:pt x="229" y="224"/>
                    </a:cubicBezTo>
                    <a:cubicBezTo>
                      <a:pt x="229" y="226"/>
                      <a:pt x="229" y="229"/>
                      <a:pt x="237" y="223"/>
                    </a:cubicBezTo>
                    <a:cubicBezTo>
                      <a:pt x="239" y="222"/>
                      <a:pt x="251" y="201"/>
                      <a:pt x="248" y="197"/>
                    </a:cubicBezTo>
                    <a:cubicBezTo>
                      <a:pt x="243" y="194"/>
                      <a:pt x="221" y="184"/>
                      <a:pt x="220" y="183"/>
                    </a:cubicBezTo>
                    <a:cubicBezTo>
                      <a:pt x="214" y="177"/>
                      <a:pt x="203" y="153"/>
                      <a:pt x="207" y="145"/>
                    </a:cubicBezTo>
                    <a:cubicBezTo>
                      <a:pt x="208" y="141"/>
                      <a:pt x="215" y="141"/>
                      <a:pt x="217" y="138"/>
                    </a:cubicBezTo>
                    <a:cubicBezTo>
                      <a:pt x="219" y="134"/>
                      <a:pt x="216" y="129"/>
                      <a:pt x="218" y="125"/>
                    </a:cubicBezTo>
                    <a:cubicBezTo>
                      <a:pt x="210" y="121"/>
                      <a:pt x="203" y="116"/>
                      <a:pt x="204" y="108"/>
                    </a:cubicBezTo>
                    <a:cubicBezTo>
                      <a:pt x="205" y="103"/>
                      <a:pt x="223" y="103"/>
                      <a:pt x="218" y="100"/>
                    </a:cubicBezTo>
                    <a:cubicBezTo>
                      <a:pt x="158" y="70"/>
                      <a:pt x="211" y="97"/>
                      <a:pt x="187" y="111"/>
                    </a:cubicBezTo>
                    <a:cubicBezTo>
                      <a:pt x="183" y="114"/>
                      <a:pt x="181" y="104"/>
                      <a:pt x="177" y="102"/>
                    </a:cubicBezTo>
                    <a:cubicBezTo>
                      <a:pt x="174" y="101"/>
                      <a:pt x="170" y="102"/>
                      <a:pt x="167" y="102"/>
                    </a:cubicBezTo>
                    <a:cubicBezTo>
                      <a:pt x="164" y="102"/>
                      <a:pt x="160" y="104"/>
                      <a:pt x="157" y="103"/>
                    </a:cubicBezTo>
                    <a:cubicBezTo>
                      <a:pt x="155" y="102"/>
                      <a:pt x="156" y="99"/>
                      <a:pt x="155" y="97"/>
                    </a:cubicBezTo>
                    <a:cubicBezTo>
                      <a:pt x="154" y="94"/>
                      <a:pt x="149" y="94"/>
                      <a:pt x="144" y="95"/>
                    </a:cubicBezTo>
                    <a:cubicBezTo>
                      <a:pt x="138" y="95"/>
                      <a:pt x="134" y="96"/>
                      <a:pt x="142" y="90"/>
                    </a:cubicBezTo>
                    <a:cubicBezTo>
                      <a:pt x="145" y="88"/>
                      <a:pt x="154" y="86"/>
                      <a:pt x="151" y="84"/>
                    </a:cubicBezTo>
                    <a:cubicBezTo>
                      <a:pt x="148" y="82"/>
                      <a:pt x="142" y="84"/>
                      <a:pt x="141" y="80"/>
                    </a:cubicBezTo>
                    <a:cubicBezTo>
                      <a:pt x="141" y="77"/>
                      <a:pt x="152" y="71"/>
                      <a:pt x="145" y="66"/>
                    </a:cubicBezTo>
                    <a:cubicBezTo>
                      <a:pt x="134" y="60"/>
                      <a:pt x="112" y="63"/>
                      <a:pt x="105" y="50"/>
                    </a:cubicBezTo>
                    <a:cubicBezTo>
                      <a:pt x="103" y="47"/>
                      <a:pt x="103" y="33"/>
                      <a:pt x="103" y="30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102" y="29"/>
                      <a:pt x="100" y="33"/>
                      <a:pt x="99" y="32"/>
                    </a:cubicBezTo>
                    <a:cubicBezTo>
                      <a:pt x="95" y="29"/>
                      <a:pt x="95" y="23"/>
                      <a:pt x="91" y="20"/>
                    </a:cubicBezTo>
                    <a:cubicBezTo>
                      <a:pt x="88" y="18"/>
                      <a:pt x="83" y="19"/>
                      <a:pt x="79" y="16"/>
                    </a:cubicBezTo>
                    <a:cubicBezTo>
                      <a:pt x="76" y="14"/>
                      <a:pt x="74" y="10"/>
                      <a:pt x="72" y="7"/>
                    </a:cubicBezTo>
                    <a:cubicBezTo>
                      <a:pt x="69" y="7"/>
                      <a:pt x="66" y="4"/>
                      <a:pt x="64" y="4"/>
                    </a:cubicBezTo>
                    <a:cubicBezTo>
                      <a:pt x="63" y="4"/>
                      <a:pt x="48" y="9"/>
                      <a:pt x="48" y="9"/>
                    </a:cubicBezTo>
                    <a:cubicBezTo>
                      <a:pt x="38" y="8"/>
                      <a:pt x="49" y="0"/>
                      <a:pt x="36" y="8"/>
                    </a:cubicBezTo>
                    <a:cubicBezTo>
                      <a:pt x="30" y="12"/>
                      <a:pt x="26" y="19"/>
                      <a:pt x="21" y="23"/>
                    </a:cubicBezTo>
                    <a:cubicBezTo>
                      <a:pt x="18" y="25"/>
                      <a:pt x="16" y="24"/>
                      <a:pt x="15" y="23"/>
                    </a:cubicBezTo>
                    <a:cubicBezTo>
                      <a:pt x="14" y="22"/>
                      <a:pt x="13" y="22"/>
                      <a:pt x="12" y="23"/>
                    </a:cubicBezTo>
                    <a:cubicBezTo>
                      <a:pt x="5" y="31"/>
                      <a:pt x="4" y="32"/>
                      <a:pt x="0" y="32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10" y="46"/>
                      <a:pt x="8" y="43"/>
                      <a:pt x="6" y="56"/>
                    </a:cubicBezTo>
                    <a:cubicBezTo>
                      <a:pt x="6" y="59"/>
                      <a:pt x="9" y="58"/>
                      <a:pt x="12" y="58"/>
                    </a:cubicBezTo>
                    <a:cubicBezTo>
                      <a:pt x="15" y="58"/>
                      <a:pt x="18" y="57"/>
                      <a:pt x="18" y="60"/>
                    </a:cubicBezTo>
                    <a:cubicBezTo>
                      <a:pt x="17" y="63"/>
                      <a:pt x="16" y="62"/>
                      <a:pt x="14" y="61"/>
                    </a:cubicBezTo>
                    <a:cubicBezTo>
                      <a:pt x="14" y="61"/>
                      <a:pt x="13" y="61"/>
                      <a:pt x="13" y="61"/>
                    </a:cubicBezTo>
                    <a:cubicBezTo>
                      <a:pt x="9" y="64"/>
                      <a:pt x="15" y="65"/>
                      <a:pt x="15" y="67"/>
                    </a:cubicBezTo>
                    <a:cubicBezTo>
                      <a:pt x="15" y="68"/>
                      <a:pt x="10" y="69"/>
                      <a:pt x="13" y="71"/>
                    </a:cubicBezTo>
                    <a:cubicBezTo>
                      <a:pt x="19" y="76"/>
                      <a:pt x="29" y="78"/>
                      <a:pt x="36" y="78"/>
                    </a:cubicBezTo>
                    <a:cubicBezTo>
                      <a:pt x="37" y="85"/>
                      <a:pt x="33" y="83"/>
                      <a:pt x="28" y="82"/>
                    </a:cubicBezTo>
                    <a:cubicBezTo>
                      <a:pt x="26" y="81"/>
                      <a:pt x="24" y="80"/>
                      <a:pt x="23" y="81"/>
                    </a:cubicBezTo>
                    <a:cubicBezTo>
                      <a:pt x="23" y="88"/>
                      <a:pt x="18" y="91"/>
                      <a:pt x="25" y="98"/>
                    </a:cubicBezTo>
                    <a:cubicBezTo>
                      <a:pt x="26" y="99"/>
                      <a:pt x="26" y="100"/>
                      <a:pt x="25" y="101"/>
                    </a:cubicBezTo>
                    <a:cubicBezTo>
                      <a:pt x="23" y="104"/>
                      <a:pt x="14" y="102"/>
                      <a:pt x="19" y="107"/>
                    </a:cubicBezTo>
                    <a:cubicBezTo>
                      <a:pt x="25" y="106"/>
                      <a:pt x="30" y="102"/>
                      <a:pt x="36" y="103"/>
                    </a:cubicBezTo>
                    <a:cubicBezTo>
                      <a:pt x="36" y="120"/>
                      <a:pt x="26" y="132"/>
                      <a:pt x="27" y="143"/>
                    </a:cubicBezTo>
                    <a:cubicBezTo>
                      <a:pt x="29" y="151"/>
                      <a:pt x="31" y="150"/>
                      <a:pt x="34" y="149"/>
                    </a:cubicBezTo>
                    <a:cubicBezTo>
                      <a:pt x="36" y="149"/>
                      <a:pt x="38" y="148"/>
                      <a:pt x="41" y="150"/>
                    </a:cubicBezTo>
                    <a:cubicBezTo>
                      <a:pt x="46" y="152"/>
                      <a:pt x="47" y="159"/>
                      <a:pt x="52" y="162"/>
                    </a:cubicBezTo>
                    <a:cubicBezTo>
                      <a:pt x="54" y="163"/>
                      <a:pt x="60" y="161"/>
                      <a:pt x="58" y="166"/>
                    </a:cubicBezTo>
                    <a:cubicBezTo>
                      <a:pt x="56" y="173"/>
                      <a:pt x="50" y="171"/>
                      <a:pt x="45" y="170"/>
                    </a:cubicBezTo>
                    <a:cubicBezTo>
                      <a:pt x="42" y="168"/>
                      <a:pt x="39" y="167"/>
                      <a:pt x="38" y="169"/>
                    </a:cubicBezTo>
                    <a:cubicBezTo>
                      <a:pt x="38" y="169"/>
                      <a:pt x="63" y="193"/>
                      <a:pt x="56" y="200"/>
                    </a:cubicBezTo>
                    <a:cubicBezTo>
                      <a:pt x="70" y="207"/>
                      <a:pt x="63" y="204"/>
                      <a:pt x="84" y="213"/>
                    </a:cubicBezTo>
                    <a:cubicBezTo>
                      <a:pt x="91" y="215"/>
                      <a:pt x="84" y="227"/>
                      <a:pt x="90" y="230"/>
                    </a:cubicBezTo>
                    <a:cubicBezTo>
                      <a:pt x="100" y="234"/>
                      <a:pt x="100" y="239"/>
                      <a:pt x="107" y="242"/>
                    </a:cubicBezTo>
                    <a:cubicBezTo>
                      <a:pt x="113" y="246"/>
                      <a:pt x="97" y="246"/>
                      <a:pt x="101" y="249"/>
                    </a:cubicBezTo>
                    <a:cubicBezTo>
                      <a:pt x="108" y="254"/>
                      <a:pt x="96" y="253"/>
                      <a:pt x="95" y="256"/>
                    </a:cubicBezTo>
                    <a:cubicBezTo>
                      <a:pt x="99" y="271"/>
                      <a:pt x="98" y="270"/>
                      <a:pt x="97" y="269"/>
                    </a:cubicBezTo>
                    <a:cubicBezTo>
                      <a:pt x="97" y="268"/>
                      <a:pt x="96" y="268"/>
                      <a:pt x="96" y="269"/>
                    </a:cubicBez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3198584" y="1905173"/>
              <a:ext cx="4358500" cy="4703030"/>
              <a:chOff x="3198584" y="1905173"/>
              <a:chExt cx="4358500" cy="4703030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91" name="Italy"/>
              <p:cNvGrpSpPr/>
              <p:nvPr/>
            </p:nvGrpSpPr>
            <p:grpSpPr>
              <a:xfrm>
                <a:off x="4796621" y="5056960"/>
                <a:ext cx="1086163" cy="1439194"/>
                <a:chOff x="4796621" y="5056960"/>
                <a:chExt cx="1086163" cy="1439194"/>
              </a:xfrm>
              <a:grpFill/>
            </p:grpSpPr>
            <p:sp>
              <p:nvSpPr>
                <p:cNvPr id="121" name="Freeform 1342"/>
                <p:cNvSpPr>
                  <a:spLocks/>
                </p:cNvSpPr>
                <p:nvPr/>
              </p:nvSpPr>
              <p:spPr bwMode="auto">
                <a:xfrm>
                  <a:off x="5274385" y="6330046"/>
                  <a:ext cx="258391" cy="166108"/>
                </a:xfrm>
                <a:custGeom>
                  <a:avLst/>
                  <a:gdLst>
                    <a:gd name="T0" fmla="*/ 108 w 112"/>
                    <a:gd name="T1" fmla="*/ 1 h 72"/>
                    <a:gd name="T2" fmla="*/ 101 w 112"/>
                    <a:gd name="T3" fmla="*/ 2 h 72"/>
                    <a:gd name="T4" fmla="*/ 96 w 112"/>
                    <a:gd name="T5" fmla="*/ 5 h 72"/>
                    <a:gd name="T6" fmla="*/ 84 w 112"/>
                    <a:gd name="T7" fmla="*/ 5 h 72"/>
                    <a:gd name="T8" fmla="*/ 79 w 112"/>
                    <a:gd name="T9" fmla="*/ 9 h 72"/>
                    <a:gd name="T10" fmla="*/ 73 w 112"/>
                    <a:gd name="T11" fmla="*/ 10 h 72"/>
                    <a:gd name="T12" fmla="*/ 52 w 112"/>
                    <a:gd name="T13" fmla="*/ 12 h 72"/>
                    <a:gd name="T14" fmla="*/ 48 w 112"/>
                    <a:gd name="T15" fmla="*/ 13 h 72"/>
                    <a:gd name="T16" fmla="*/ 44 w 112"/>
                    <a:gd name="T17" fmla="*/ 14 h 72"/>
                    <a:gd name="T18" fmla="*/ 40 w 112"/>
                    <a:gd name="T19" fmla="*/ 9 h 72"/>
                    <a:gd name="T20" fmla="*/ 27 w 112"/>
                    <a:gd name="T21" fmla="*/ 3 h 72"/>
                    <a:gd name="T22" fmla="*/ 16 w 112"/>
                    <a:gd name="T23" fmla="*/ 9 h 72"/>
                    <a:gd name="T24" fmla="*/ 12 w 112"/>
                    <a:gd name="T25" fmla="*/ 9 h 72"/>
                    <a:gd name="T26" fmla="*/ 6 w 112"/>
                    <a:gd name="T27" fmla="*/ 4 h 72"/>
                    <a:gd name="T28" fmla="*/ 3 w 112"/>
                    <a:gd name="T29" fmla="*/ 6 h 72"/>
                    <a:gd name="T30" fmla="*/ 2 w 112"/>
                    <a:gd name="T31" fmla="*/ 9 h 72"/>
                    <a:gd name="T32" fmla="*/ 1 w 112"/>
                    <a:gd name="T33" fmla="*/ 11 h 72"/>
                    <a:gd name="T34" fmla="*/ 0 w 112"/>
                    <a:gd name="T35" fmla="*/ 16 h 72"/>
                    <a:gd name="T36" fmla="*/ 1 w 112"/>
                    <a:gd name="T37" fmla="*/ 26 h 72"/>
                    <a:gd name="T38" fmla="*/ 5 w 112"/>
                    <a:gd name="T39" fmla="*/ 31 h 72"/>
                    <a:gd name="T40" fmla="*/ 16 w 112"/>
                    <a:gd name="T41" fmla="*/ 33 h 72"/>
                    <a:gd name="T42" fmla="*/ 24 w 112"/>
                    <a:gd name="T43" fmla="*/ 37 h 72"/>
                    <a:gd name="T44" fmla="*/ 33 w 112"/>
                    <a:gd name="T45" fmla="*/ 43 h 72"/>
                    <a:gd name="T46" fmla="*/ 40 w 112"/>
                    <a:gd name="T47" fmla="*/ 46 h 72"/>
                    <a:gd name="T48" fmla="*/ 45 w 112"/>
                    <a:gd name="T49" fmla="*/ 51 h 72"/>
                    <a:gd name="T50" fmla="*/ 50 w 112"/>
                    <a:gd name="T51" fmla="*/ 54 h 72"/>
                    <a:gd name="T52" fmla="*/ 56 w 112"/>
                    <a:gd name="T53" fmla="*/ 55 h 72"/>
                    <a:gd name="T54" fmla="*/ 65 w 112"/>
                    <a:gd name="T55" fmla="*/ 58 h 72"/>
                    <a:gd name="T56" fmla="*/ 71 w 112"/>
                    <a:gd name="T57" fmla="*/ 64 h 72"/>
                    <a:gd name="T58" fmla="*/ 78 w 112"/>
                    <a:gd name="T59" fmla="*/ 70 h 72"/>
                    <a:gd name="T60" fmla="*/ 85 w 112"/>
                    <a:gd name="T61" fmla="*/ 72 h 72"/>
                    <a:gd name="T62" fmla="*/ 95 w 112"/>
                    <a:gd name="T63" fmla="*/ 72 h 72"/>
                    <a:gd name="T64" fmla="*/ 96 w 112"/>
                    <a:gd name="T65" fmla="*/ 68 h 72"/>
                    <a:gd name="T66" fmla="*/ 101 w 112"/>
                    <a:gd name="T67" fmla="*/ 57 h 72"/>
                    <a:gd name="T68" fmla="*/ 97 w 112"/>
                    <a:gd name="T69" fmla="*/ 49 h 72"/>
                    <a:gd name="T70" fmla="*/ 96 w 112"/>
                    <a:gd name="T71" fmla="*/ 46 h 72"/>
                    <a:gd name="T72" fmla="*/ 94 w 112"/>
                    <a:gd name="T73" fmla="*/ 43 h 72"/>
                    <a:gd name="T74" fmla="*/ 94 w 112"/>
                    <a:gd name="T75" fmla="*/ 39 h 72"/>
                    <a:gd name="T76" fmla="*/ 101 w 112"/>
                    <a:gd name="T77" fmla="*/ 22 h 72"/>
                    <a:gd name="T78" fmla="*/ 110 w 112"/>
                    <a:gd name="T79" fmla="*/ 8 h 72"/>
                    <a:gd name="T80" fmla="*/ 112 w 112"/>
                    <a:gd name="T81" fmla="*/ 0 h 72"/>
                    <a:gd name="T82" fmla="*/ 110 w 112"/>
                    <a:gd name="T83" fmla="*/ 0 h 72"/>
                    <a:gd name="T84" fmla="*/ 108 w 112"/>
                    <a:gd name="T85" fmla="*/ 1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12" h="72">
                      <a:moveTo>
                        <a:pt x="108" y="1"/>
                      </a:moveTo>
                      <a:lnTo>
                        <a:pt x="101" y="2"/>
                      </a:lnTo>
                      <a:lnTo>
                        <a:pt x="96" y="5"/>
                      </a:lnTo>
                      <a:lnTo>
                        <a:pt x="84" y="5"/>
                      </a:lnTo>
                      <a:lnTo>
                        <a:pt x="79" y="9"/>
                      </a:lnTo>
                      <a:lnTo>
                        <a:pt x="73" y="10"/>
                      </a:lnTo>
                      <a:lnTo>
                        <a:pt x="52" y="12"/>
                      </a:lnTo>
                      <a:lnTo>
                        <a:pt x="48" y="13"/>
                      </a:lnTo>
                      <a:lnTo>
                        <a:pt x="44" y="14"/>
                      </a:lnTo>
                      <a:lnTo>
                        <a:pt x="40" y="9"/>
                      </a:lnTo>
                      <a:lnTo>
                        <a:pt x="27" y="3"/>
                      </a:lnTo>
                      <a:lnTo>
                        <a:pt x="16" y="9"/>
                      </a:lnTo>
                      <a:lnTo>
                        <a:pt x="12" y="9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2" y="9"/>
                      </a:lnTo>
                      <a:lnTo>
                        <a:pt x="1" y="11"/>
                      </a:lnTo>
                      <a:lnTo>
                        <a:pt x="0" y="16"/>
                      </a:lnTo>
                      <a:lnTo>
                        <a:pt x="1" y="26"/>
                      </a:lnTo>
                      <a:lnTo>
                        <a:pt x="5" y="31"/>
                      </a:lnTo>
                      <a:lnTo>
                        <a:pt x="16" y="33"/>
                      </a:lnTo>
                      <a:lnTo>
                        <a:pt x="24" y="37"/>
                      </a:lnTo>
                      <a:lnTo>
                        <a:pt x="33" y="43"/>
                      </a:lnTo>
                      <a:lnTo>
                        <a:pt x="40" y="46"/>
                      </a:lnTo>
                      <a:lnTo>
                        <a:pt x="45" y="51"/>
                      </a:lnTo>
                      <a:lnTo>
                        <a:pt x="50" y="54"/>
                      </a:lnTo>
                      <a:lnTo>
                        <a:pt x="56" y="55"/>
                      </a:lnTo>
                      <a:lnTo>
                        <a:pt x="65" y="58"/>
                      </a:lnTo>
                      <a:lnTo>
                        <a:pt x="71" y="64"/>
                      </a:lnTo>
                      <a:lnTo>
                        <a:pt x="78" y="70"/>
                      </a:lnTo>
                      <a:lnTo>
                        <a:pt x="85" y="72"/>
                      </a:lnTo>
                      <a:lnTo>
                        <a:pt x="95" y="72"/>
                      </a:lnTo>
                      <a:lnTo>
                        <a:pt x="96" y="68"/>
                      </a:lnTo>
                      <a:lnTo>
                        <a:pt x="101" y="57"/>
                      </a:lnTo>
                      <a:lnTo>
                        <a:pt x="97" y="49"/>
                      </a:lnTo>
                      <a:lnTo>
                        <a:pt x="96" y="46"/>
                      </a:lnTo>
                      <a:lnTo>
                        <a:pt x="94" y="43"/>
                      </a:lnTo>
                      <a:lnTo>
                        <a:pt x="94" y="39"/>
                      </a:lnTo>
                      <a:lnTo>
                        <a:pt x="101" y="22"/>
                      </a:lnTo>
                      <a:lnTo>
                        <a:pt x="110" y="8"/>
                      </a:lnTo>
                      <a:lnTo>
                        <a:pt x="112" y="0"/>
                      </a:lnTo>
                      <a:lnTo>
                        <a:pt x="110" y="0"/>
                      </a:lnTo>
                      <a:lnTo>
                        <a:pt x="108" y="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  <p:sp>
              <p:nvSpPr>
                <p:cNvPr id="122" name="Freeform 1344"/>
                <p:cNvSpPr>
                  <a:spLocks/>
                </p:cNvSpPr>
                <p:nvPr/>
              </p:nvSpPr>
              <p:spPr bwMode="auto">
                <a:xfrm>
                  <a:off x="4852119" y="5814605"/>
                  <a:ext cx="126889" cy="265313"/>
                </a:xfrm>
                <a:custGeom>
                  <a:avLst/>
                  <a:gdLst>
                    <a:gd name="T0" fmla="*/ 52 w 55"/>
                    <a:gd name="T1" fmla="*/ 29 h 115"/>
                    <a:gd name="T2" fmla="*/ 49 w 55"/>
                    <a:gd name="T3" fmla="*/ 16 h 115"/>
                    <a:gd name="T4" fmla="*/ 46 w 55"/>
                    <a:gd name="T5" fmla="*/ 8 h 115"/>
                    <a:gd name="T6" fmla="*/ 43 w 55"/>
                    <a:gd name="T7" fmla="*/ 6 h 115"/>
                    <a:gd name="T8" fmla="*/ 40 w 55"/>
                    <a:gd name="T9" fmla="*/ 4 h 115"/>
                    <a:gd name="T10" fmla="*/ 34 w 55"/>
                    <a:gd name="T11" fmla="*/ 0 h 115"/>
                    <a:gd name="T12" fmla="*/ 29 w 55"/>
                    <a:gd name="T13" fmla="*/ 7 h 115"/>
                    <a:gd name="T14" fmla="*/ 26 w 55"/>
                    <a:gd name="T15" fmla="*/ 8 h 115"/>
                    <a:gd name="T16" fmla="*/ 12 w 55"/>
                    <a:gd name="T17" fmla="*/ 21 h 115"/>
                    <a:gd name="T18" fmla="*/ 6 w 55"/>
                    <a:gd name="T19" fmla="*/ 22 h 115"/>
                    <a:gd name="T20" fmla="*/ 0 w 55"/>
                    <a:gd name="T21" fmla="*/ 17 h 115"/>
                    <a:gd name="T22" fmla="*/ 0 w 55"/>
                    <a:gd name="T23" fmla="*/ 18 h 115"/>
                    <a:gd name="T24" fmla="*/ 0 w 55"/>
                    <a:gd name="T25" fmla="*/ 32 h 115"/>
                    <a:gd name="T26" fmla="*/ 2 w 55"/>
                    <a:gd name="T27" fmla="*/ 35 h 115"/>
                    <a:gd name="T28" fmla="*/ 4 w 55"/>
                    <a:gd name="T29" fmla="*/ 35 h 115"/>
                    <a:gd name="T30" fmla="*/ 6 w 55"/>
                    <a:gd name="T31" fmla="*/ 37 h 115"/>
                    <a:gd name="T32" fmla="*/ 7 w 55"/>
                    <a:gd name="T33" fmla="*/ 42 h 115"/>
                    <a:gd name="T34" fmla="*/ 10 w 55"/>
                    <a:gd name="T35" fmla="*/ 46 h 115"/>
                    <a:gd name="T36" fmla="*/ 10 w 55"/>
                    <a:gd name="T37" fmla="*/ 54 h 115"/>
                    <a:gd name="T38" fmla="*/ 9 w 55"/>
                    <a:gd name="T39" fmla="*/ 58 h 115"/>
                    <a:gd name="T40" fmla="*/ 10 w 55"/>
                    <a:gd name="T41" fmla="*/ 65 h 115"/>
                    <a:gd name="T42" fmla="*/ 12 w 55"/>
                    <a:gd name="T43" fmla="*/ 67 h 115"/>
                    <a:gd name="T44" fmla="*/ 11 w 55"/>
                    <a:gd name="T45" fmla="*/ 71 h 115"/>
                    <a:gd name="T46" fmla="*/ 9 w 55"/>
                    <a:gd name="T47" fmla="*/ 73 h 115"/>
                    <a:gd name="T48" fmla="*/ 6 w 55"/>
                    <a:gd name="T49" fmla="*/ 87 h 115"/>
                    <a:gd name="T50" fmla="*/ 9 w 55"/>
                    <a:gd name="T51" fmla="*/ 92 h 115"/>
                    <a:gd name="T52" fmla="*/ 9 w 55"/>
                    <a:gd name="T53" fmla="*/ 96 h 115"/>
                    <a:gd name="T54" fmla="*/ 10 w 55"/>
                    <a:gd name="T55" fmla="*/ 101 h 115"/>
                    <a:gd name="T56" fmla="*/ 17 w 55"/>
                    <a:gd name="T57" fmla="*/ 112 h 115"/>
                    <a:gd name="T58" fmla="*/ 21 w 55"/>
                    <a:gd name="T59" fmla="*/ 115 h 115"/>
                    <a:gd name="T60" fmla="*/ 26 w 55"/>
                    <a:gd name="T61" fmla="*/ 113 h 115"/>
                    <a:gd name="T62" fmla="*/ 30 w 55"/>
                    <a:gd name="T63" fmla="*/ 110 h 115"/>
                    <a:gd name="T64" fmla="*/ 34 w 55"/>
                    <a:gd name="T65" fmla="*/ 103 h 115"/>
                    <a:gd name="T66" fmla="*/ 37 w 55"/>
                    <a:gd name="T67" fmla="*/ 100 h 115"/>
                    <a:gd name="T68" fmla="*/ 46 w 55"/>
                    <a:gd name="T69" fmla="*/ 102 h 115"/>
                    <a:gd name="T70" fmla="*/ 50 w 55"/>
                    <a:gd name="T71" fmla="*/ 99 h 115"/>
                    <a:gd name="T72" fmla="*/ 50 w 55"/>
                    <a:gd name="T73" fmla="*/ 96 h 115"/>
                    <a:gd name="T74" fmla="*/ 52 w 55"/>
                    <a:gd name="T75" fmla="*/ 91 h 115"/>
                    <a:gd name="T76" fmla="*/ 52 w 55"/>
                    <a:gd name="T77" fmla="*/ 74 h 115"/>
                    <a:gd name="T78" fmla="*/ 52 w 55"/>
                    <a:gd name="T79" fmla="*/ 53 h 115"/>
                    <a:gd name="T80" fmla="*/ 55 w 55"/>
                    <a:gd name="T81" fmla="*/ 42 h 115"/>
                    <a:gd name="T82" fmla="*/ 52 w 55"/>
                    <a:gd name="T83" fmla="*/ 29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5" h="115">
                      <a:moveTo>
                        <a:pt x="52" y="29"/>
                      </a:moveTo>
                      <a:lnTo>
                        <a:pt x="49" y="16"/>
                      </a:lnTo>
                      <a:lnTo>
                        <a:pt x="46" y="8"/>
                      </a:lnTo>
                      <a:lnTo>
                        <a:pt x="43" y="6"/>
                      </a:lnTo>
                      <a:lnTo>
                        <a:pt x="40" y="4"/>
                      </a:lnTo>
                      <a:lnTo>
                        <a:pt x="34" y="0"/>
                      </a:lnTo>
                      <a:lnTo>
                        <a:pt x="29" y="7"/>
                      </a:lnTo>
                      <a:lnTo>
                        <a:pt x="26" y="8"/>
                      </a:lnTo>
                      <a:lnTo>
                        <a:pt x="12" y="21"/>
                      </a:lnTo>
                      <a:lnTo>
                        <a:pt x="6" y="22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32"/>
                      </a:lnTo>
                      <a:lnTo>
                        <a:pt x="2" y="35"/>
                      </a:lnTo>
                      <a:lnTo>
                        <a:pt x="4" y="35"/>
                      </a:lnTo>
                      <a:lnTo>
                        <a:pt x="6" y="37"/>
                      </a:lnTo>
                      <a:lnTo>
                        <a:pt x="7" y="42"/>
                      </a:lnTo>
                      <a:lnTo>
                        <a:pt x="10" y="46"/>
                      </a:lnTo>
                      <a:lnTo>
                        <a:pt x="10" y="54"/>
                      </a:lnTo>
                      <a:lnTo>
                        <a:pt x="9" y="58"/>
                      </a:lnTo>
                      <a:lnTo>
                        <a:pt x="10" y="65"/>
                      </a:lnTo>
                      <a:lnTo>
                        <a:pt x="12" y="67"/>
                      </a:lnTo>
                      <a:lnTo>
                        <a:pt x="11" y="71"/>
                      </a:lnTo>
                      <a:lnTo>
                        <a:pt x="9" y="73"/>
                      </a:lnTo>
                      <a:lnTo>
                        <a:pt x="6" y="87"/>
                      </a:lnTo>
                      <a:lnTo>
                        <a:pt x="9" y="92"/>
                      </a:lnTo>
                      <a:lnTo>
                        <a:pt x="9" y="96"/>
                      </a:lnTo>
                      <a:lnTo>
                        <a:pt x="10" y="101"/>
                      </a:lnTo>
                      <a:lnTo>
                        <a:pt x="17" y="112"/>
                      </a:lnTo>
                      <a:lnTo>
                        <a:pt x="21" y="115"/>
                      </a:lnTo>
                      <a:lnTo>
                        <a:pt x="26" y="113"/>
                      </a:lnTo>
                      <a:lnTo>
                        <a:pt x="30" y="110"/>
                      </a:lnTo>
                      <a:lnTo>
                        <a:pt x="34" y="103"/>
                      </a:lnTo>
                      <a:lnTo>
                        <a:pt x="37" y="100"/>
                      </a:lnTo>
                      <a:lnTo>
                        <a:pt x="46" y="102"/>
                      </a:lnTo>
                      <a:lnTo>
                        <a:pt x="50" y="99"/>
                      </a:lnTo>
                      <a:lnTo>
                        <a:pt x="50" y="96"/>
                      </a:lnTo>
                      <a:lnTo>
                        <a:pt x="52" y="91"/>
                      </a:lnTo>
                      <a:lnTo>
                        <a:pt x="52" y="74"/>
                      </a:lnTo>
                      <a:lnTo>
                        <a:pt x="52" y="53"/>
                      </a:lnTo>
                      <a:lnTo>
                        <a:pt x="55" y="42"/>
                      </a:lnTo>
                      <a:lnTo>
                        <a:pt x="52" y="29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  <p:sp>
              <p:nvSpPr>
                <p:cNvPr id="123" name="Freeform 1343"/>
                <p:cNvSpPr>
                  <a:spLocks/>
                </p:cNvSpPr>
                <p:nvPr/>
              </p:nvSpPr>
              <p:spPr bwMode="auto">
                <a:xfrm>
                  <a:off x="4796621" y="5056960"/>
                  <a:ext cx="1086163" cy="1256192"/>
                </a:xfrm>
                <a:custGeom>
                  <a:avLst/>
                  <a:gdLst>
                    <a:gd name="T0" fmla="*/ 385 w 428"/>
                    <a:gd name="T1" fmla="*/ 310 h 450"/>
                    <a:gd name="T2" fmla="*/ 342 w 428"/>
                    <a:gd name="T3" fmla="*/ 286 h 450"/>
                    <a:gd name="T4" fmla="*/ 334 w 428"/>
                    <a:gd name="T5" fmla="*/ 278 h 450"/>
                    <a:gd name="T6" fmla="*/ 339 w 428"/>
                    <a:gd name="T7" fmla="*/ 259 h 450"/>
                    <a:gd name="T8" fmla="*/ 330 w 428"/>
                    <a:gd name="T9" fmla="*/ 261 h 450"/>
                    <a:gd name="T10" fmla="*/ 301 w 428"/>
                    <a:gd name="T11" fmla="*/ 257 h 450"/>
                    <a:gd name="T12" fmla="*/ 286 w 428"/>
                    <a:gd name="T13" fmla="*/ 247 h 450"/>
                    <a:gd name="T14" fmla="*/ 260 w 428"/>
                    <a:gd name="T15" fmla="*/ 207 h 450"/>
                    <a:gd name="T16" fmla="*/ 246 w 428"/>
                    <a:gd name="T17" fmla="*/ 176 h 450"/>
                    <a:gd name="T18" fmla="*/ 227 w 428"/>
                    <a:gd name="T19" fmla="*/ 163 h 450"/>
                    <a:gd name="T20" fmla="*/ 203 w 428"/>
                    <a:gd name="T21" fmla="*/ 139 h 450"/>
                    <a:gd name="T22" fmla="*/ 208 w 428"/>
                    <a:gd name="T23" fmla="*/ 109 h 450"/>
                    <a:gd name="T24" fmla="*/ 202 w 428"/>
                    <a:gd name="T25" fmla="*/ 88 h 450"/>
                    <a:gd name="T26" fmla="*/ 215 w 428"/>
                    <a:gd name="T27" fmla="*/ 82 h 450"/>
                    <a:gd name="T28" fmla="*/ 253 w 428"/>
                    <a:gd name="T29" fmla="*/ 70 h 450"/>
                    <a:gd name="T30" fmla="*/ 256 w 428"/>
                    <a:gd name="T31" fmla="*/ 81 h 450"/>
                    <a:gd name="T32" fmla="*/ 260 w 428"/>
                    <a:gd name="T33" fmla="*/ 72 h 450"/>
                    <a:gd name="T34" fmla="*/ 249 w 428"/>
                    <a:gd name="T35" fmla="*/ 65 h 450"/>
                    <a:gd name="T36" fmla="*/ 249 w 428"/>
                    <a:gd name="T37" fmla="*/ 45 h 450"/>
                    <a:gd name="T38" fmla="*/ 246 w 428"/>
                    <a:gd name="T39" fmla="*/ 36 h 450"/>
                    <a:gd name="T40" fmla="*/ 217 w 428"/>
                    <a:gd name="T41" fmla="*/ 24 h 450"/>
                    <a:gd name="T42" fmla="*/ 197 w 428"/>
                    <a:gd name="T43" fmla="*/ 9 h 450"/>
                    <a:gd name="T44" fmla="*/ 191 w 428"/>
                    <a:gd name="T45" fmla="*/ 0 h 450"/>
                    <a:gd name="T46" fmla="*/ 156 w 428"/>
                    <a:gd name="T47" fmla="*/ 10 h 450"/>
                    <a:gd name="T48" fmla="*/ 132 w 428"/>
                    <a:gd name="T49" fmla="*/ 19 h 450"/>
                    <a:gd name="T50" fmla="*/ 121 w 428"/>
                    <a:gd name="T51" fmla="*/ 30 h 450"/>
                    <a:gd name="T52" fmla="*/ 110 w 428"/>
                    <a:gd name="T53" fmla="*/ 38 h 450"/>
                    <a:gd name="T54" fmla="*/ 91 w 428"/>
                    <a:gd name="T55" fmla="*/ 38 h 450"/>
                    <a:gd name="T56" fmla="*/ 77 w 428"/>
                    <a:gd name="T57" fmla="*/ 58 h 450"/>
                    <a:gd name="T58" fmla="*/ 54 w 428"/>
                    <a:gd name="T59" fmla="*/ 38 h 450"/>
                    <a:gd name="T60" fmla="*/ 40 w 428"/>
                    <a:gd name="T61" fmla="*/ 59 h 450"/>
                    <a:gd name="T62" fmla="*/ 3 w 428"/>
                    <a:gd name="T63" fmla="*/ 64 h 450"/>
                    <a:gd name="T64" fmla="*/ 12 w 428"/>
                    <a:gd name="T65" fmla="*/ 93 h 450"/>
                    <a:gd name="T66" fmla="*/ 0 w 428"/>
                    <a:gd name="T67" fmla="*/ 112 h 450"/>
                    <a:gd name="T68" fmla="*/ 6 w 428"/>
                    <a:gd name="T69" fmla="*/ 128 h 450"/>
                    <a:gd name="T70" fmla="*/ 29 w 428"/>
                    <a:gd name="T71" fmla="*/ 150 h 450"/>
                    <a:gd name="T72" fmla="*/ 31 w 428"/>
                    <a:gd name="T73" fmla="*/ 168 h 450"/>
                    <a:gd name="T74" fmla="*/ 54 w 428"/>
                    <a:gd name="T75" fmla="*/ 158 h 450"/>
                    <a:gd name="T76" fmla="*/ 76 w 428"/>
                    <a:gd name="T77" fmla="*/ 138 h 450"/>
                    <a:gd name="T78" fmla="*/ 126 w 428"/>
                    <a:gd name="T79" fmla="*/ 160 h 450"/>
                    <a:gd name="T80" fmla="*/ 140 w 428"/>
                    <a:gd name="T81" fmla="*/ 202 h 450"/>
                    <a:gd name="T82" fmla="*/ 162 w 428"/>
                    <a:gd name="T83" fmla="*/ 238 h 450"/>
                    <a:gd name="T84" fmla="*/ 188 w 428"/>
                    <a:gd name="T85" fmla="*/ 254 h 450"/>
                    <a:gd name="T86" fmla="*/ 230 w 428"/>
                    <a:gd name="T87" fmla="*/ 294 h 450"/>
                    <a:gd name="T88" fmla="*/ 265 w 428"/>
                    <a:gd name="T89" fmla="*/ 306 h 450"/>
                    <a:gd name="T90" fmla="*/ 279 w 428"/>
                    <a:gd name="T91" fmla="*/ 324 h 450"/>
                    <a:gd name="T92" fmla="*/ 301 w 428"/>
                    <a:gd name="T93" fmla="*/ 334 h 450"/>
                    <a:gd name="T94" fmla="*/ 314 w 428"/>
                    <a:gd name="T95" fmla="*/ 349 h 450"/>
                    <a:gd name="T96" fmla="*/ 328 w 428"/>
                    <a:gd name="T97" fmla="*/ 356 h 450"/>
                    <a:gd name="T98" fmla="*/ 341 w 428"/>
                    <a:gd name="T99" fmla="*/ 394 h 450"/>
                    <a:gd name="T100" fmla="*/ 335 w 428"/>
                    <a:gd name="T101" fmla="*/ 424 h 450"/>
                    <a:gd name="T102" fmla="*/ 329 w 428"/>
                    <a:gd name="T103" fmla="*/ 450 h 450"/>
                    <a:gd name="T104" fmla="*/ 339 w 428"/>
                    <a:gd name="T105" fmla="*/ 450 h 450"/>
                    <a:gd name="T106" fmla="*/ 353 w 428"/>
                    <a:gd name="T107" fmla="*/ 431 h 450"/>
                    <a:gd name="T108" fmla="*/ 361 w 428"/>
                    <a:gd name="T109" fmla="*/ 408 h 450"/>
                    <a:gd name="T110" fmla="*/ 377 w 428"/>
                    <a:gd name="T111" fmla="*/ 399 h 450"/>
                    <a:gd name="T112" fmla="*/ 374 w 428"/>
                    <a:gd name="T113" fmla="*/ 377 h 450"/>
                    <a:gd name="T114" fmla="*/ 358 w 428"/>
                    <a:gd name="T115" fmla="*/ 358 h 450"/>
                    <a:gd name="T116" fmla="*/ 381 w 428"/>
                    <a:gd name="T117" fmla="*/ 329 h 450"/>
                    <a:gd name="T118" fmla="*/ 410 w 428"/>
                    <a:gd name="T119" fmla="*/ 348 h 450"/>
                    <a:gd name="T120" fmla="*/ 428 w 428"/>
                    <a:gd name="T121" fmla="*/ 348 h 4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428" h="450">
                      <a:moveTo>
                        <a:pt x="422" y="337"/>
                      </a:moveTo>
                      <a:lnTo>
                        <a:pt x="416" y="331"/>
                      </a:lnTo>
                      <a:lnTo>
                        <a:pt x="408" y="319"/>
                      </a:lnTo>
                      <a:lnTo>
                        <a:pt x="385" y="310"/>
                      </a:lnTo>
                      <a:lnTo>
                        <a:pt x="380" y="303"/>
                      </a:lnTo>
                      <a:lnTo>
                        <a:pt x="372" y="299"/>
                      </a:lnTo>
                      <a:lnTo>
                        <a:pt x="348" y="289"/>
                      </a:lnTo>
                      <a:lnTo>
                        <a:pt x="342" y="286"/>
                      </a:lnTo>
                      <a:lnTo>
                        <a:pt x="339" y="285"/>
                      </a:lnTo>
                      <a:lnTo>
                        <a:pt x="336" y="285"/>
                      </a:lnTo>
                      <a:lnTo>
                        <a:pt x="334" y="282"/>
                      </a:lnTo>
                      <a:lnTo>
                        <a:pt x="334" y="278"/>
                      </a:lnTo>
                      <a:lnTo>
                        <a:pt x="338" y="274"/>
                      </a:lnTo>
                      <a:lnTo>
                        <a:pt x="342" y="271"/>
                      </a:lnTo>
                      <a:lnTo>
                        <a:pt x="343" y="264"/>
                      </a:lnTo>
                      <a:lnTo>
                        <a:pt x="339" y="259"/>
                      </a:lnTo>
                      <a:lnTo>
                        <a:pt x="332" y="260"/>
                      </a:lnTo>
                      <a:lnTo>
                        <a:pt x="329" y="261"/>
                      </a:lnTo>
                      <a:lnTo>
                        <a:pt x="335" y="260"/>
                      </a:lnTo>
                      <a:lnTo>
                        <a:pt x="330" y="261"/>
                      </a:lnTo>
                      <a:lnTo>
                        <a:pt x="329" y="261"/>
                      </a:lnTo>
                      <a:lnTo>
                        <a:pt x="309" y="261"/>
                      </a:lnTo>
                      <a:lnTo>
                        <a:pt x="309" y="266"/>
                      </a:lnTo>
                      <a:lnTo>
                        <a:pt x="301" y="257"/>
                      </a:lnTo>
                      <a:lnTo>
                        <a:pt x="294" y="253"/>
                      </a:lnTo>
                      <a:lnTo>
                        <a:pt x="291" y="252"/>
                      </a:lnTo>
                      <a:lnTo>
                        <a:pt x="289" y="247"/>
                      </a:lnTo>
                      <a:lnTo>
                        <a:pt x="286" y="247"/>
                      </a:lnTo>
                      <a:lnTo>
                        <a:pt x="272" y="233"/>
                      </a:lnTo>
                      <a:lnTo>
                        <a:pt x="269" y="228"/>
                      </a:lnTo>
                      <a:lnTo>
                        <a:pt x="264" y="219"/>
                      </a:lnTo>
                      <a:lnTo>
                        <a:pt x="260" y="207"/>
                      </a:lnTo>
                      <a:lnTo>
                        <a:pt x="258" y="204"/>
                      </a:lnTo>
                      <a:lnTo>
                        <a:pt x="253" y="188"/>
                      </a:lnTo>
                      <a:lnTo>
                        <a:pt x="248" y="179"/>
                      </a:lnTo>
                      <a:lnTo>
                        <a:pt x="246" y="176"/>
                      </a:lnTo>
                      <a:lnTo>
                        <a:pt x="241" y="176"/>
                      </a:lnTo>
                      <a:lnTo>
                        <a:pt x="240" y="174"/>
                      </a:lnTo>
                      <a:lnTo>
                        <a:pt x="231" y="168"/>
                      </a:lnTo>
                      <a:lnTo>
                        <a:pt x="227" y="163"/>
                      </a:lnTo>
                      <a:lnTo>
                        <a:pt x="213" y="157"/>
                      </a:lnTo>
                      <a:lnTo>
                        <a:pt x="208" y="151"/>
                      </a:lnTo>
                      <a:lnTo>
                        <a:pt x="205" y="146"/>
                      </a:lnTo>
                      <a:lnTo>
                        <a:pt x="203" y="139"/>
                      </a:lnTo>
                      <a:lnTo>
                        <a:pt x="203" y="127"/>
                      </a:lnTo>
                      <a:lnTo>
                        <a:pt x="204" y="116"/>
                      </a:lnTo>
                      <a:lnTo>
                        <a:pt x="208" y="113"/>
                      </a:lnTo>
                      <a:lnTo>
                        <a:pt x="208" y="109"/>
                      </a:lnTo>
                      <a:lnTo>
                        <a:pt x="207" y="104"/>
                      </a:lnTo>
                      <a:lnTo>
                        <a:pt x="202" y="103"/>
                      </a:lnTo>
                      <a:lnTo>
                        <a:pt x="201" y="92"/>
                      </a:lnTo>
                      <a:lnTo>
                        <a:pt x="202" y="88"/>
                      </a:lnTo>
                      <a:lnTo>
                        <a:pt x="208" y="82"/>
                      </a:lnTo>
                      <a:lnTo>
                        <a:pt x="212" y="82"/>
                      </a:lnTo>
                      <a:lnTo>
                        <a:pt x="212" y="83"/>
                      </a:lnTo>
                      <a:lnTo>
                        <a:pt x="215" y="82"/>
                      </a:lnTo>
                      <a:lnTo>
                        <a:pt x="237" y="71"/>
                      </a:lnTo>
                      <a:lnTo>
                        <a:pt x="244" y="72"/>
                      </a:lnTo>
                      <a:lnTo>
                        <a:pt x="249" y="69"/>
                      </a:lnTo>
                      <a:lnTo>
                        <a:pt x="253" y="70"/>
                      </a:lnTo>
                      <a:lnTo>
                        <a:pt x="255" y="75"/>
                      </a:lnTo>
                      <a:lnTo>
                        <a:pt x="252" y="79"/>
                      </a:lnTo>
                      <a:lnTo>
                        <a:pt x="252" y="80"/>
                      </a:lnTo>
                      <a:lnTo>
                        <a:pt x="256" y="81"/>
                      </a:lnTo>
                      <a:lnTo>
                        <a:pt x="259" y="80"/>
                      </a:lnTo>
                      <a:lnTo>
                        <a:pt x="261" y="78"/>
                      </a:lnTo>
                      <a:lnTo>
                        <a:pt x="262" y="76"/>
                      </a:lnTo>
                      <a:lnTo>
                        <a:pt x="260" y="72"/>
                      </a:lnTo>
                      <a:lnTo>
                        <a:pt x="258" y="71"/>
                      </a:lnTo>
                      <a:lnTo>
                        <a:pt x="257" y="68"/>
                      </a:lnTo>
                      <a:lnTo>
                        <a:pt x="251" y="66"/>
                      </a:lnTo>
                      <a:lnTo>
                        <a:pt x="249" y="65"/>
                      </a:lnTo>
                      <a:lnTo>
                        <a:pt x="249" y="59"/>
                      </a:lnTo>
                      <a:lnTo>
                        <a:pt x="246" y="55"/>
                      </a:lnTo>
                      <a:lnTo>
                        <a:pt x="247" y="49"/>
                      </a:lnTo>
                      <a:lnTo>
                        <a:pt x="249" y="45"/>
                      </a:lnTo>
                      <a:lnTo>
                        <a:pt x="245" y="46"/>
                      </a:lnTo>
                      <a:lnTo>
                        <a:pt x="244" y="45"/>
                      </a:lnTo>
                      <a:lnTo>
                        <a:pt x="244" y="42"/>
                      </a:lnTo>
                      <a:lnTo>
                        <a:pt x="246" y="36"/>
                      </a:lnTo>
                      <a:lnTo>
                        <a:pt x="252" y="30"/>
                      </a:lnTo>
                      <a:lnTo>
                        <a:pt x="247" y="30"/>
                      </a:lnTo>
                      <a:lnTo>
                        <a:pt x="238" y="26"/>
                      </a:lnTo>
                      <a:lnTo>
                        <a:pt x="217" y="24"/>
                      </a:lnTo>
                      <a:lnTo>
                        <a:pt x="211" y="20"/>
                      </a:lnTo>
                      <a:lnTo>
                        <a:pt x="208" y="19"/>
                      </a:lnTo>
                      <a:lnTo>
                        <a:pt x="200" y="14"/>
                      </a:lnTo>
                      <a:lnTo>
                        <a:pt x="197" y="9"/>
                      </a:lnTo>
                      <a:lnTo>
                        <a:pt x="196" y="4"/>
                      </a:lnTo>
                      <a:lnTo>
                        <a:pt x="196" y="1"/>
                      </a:lnTo>
                      <a:lnTo>
                        <a:pt x="195" y="0"/>
                      </a:lnTo>
                      <a:lnTo>
                        <a:pt x="191" y="0"/>
                      </a:lnTo>
                      <a:lnTo>
                        <a:pt x="188" y="2"/>
                      </a:lnTo>
                      <a:lnTo>
                        <a:pt x="181" y="3"/>
                      </a:lnTo>
                      <a:lnTo>
                        <a:pt x="169" y="4"/>
                      </a:lnTo>
                      <a:lnTo>
                        <a:pt x="156" y="10"/>
                      </a:lnTo>
                      <a:lnTo>
                        <a:pt x="145" y="13"/>
                      </a:lnTo>
                      <a:lnTo>
                        <a:pt x="143" y="13"/>
                      </a:lnTo>
                      <a:lnTo>
                        <a:pt x="134" y="11"/>
                      </a:lnTo>
                      <a:lnTo>
                        <a:pt x="132" y="19"/>
                      </a:lnTo>
                      <a:lnTo>
                        <a:pt x="133" y="23"/>
                      </a:lnTo>
                      <a:lnTo>
                        <a:pt x="129" y="24"/>
                      </a:lnTo>
                      <a:lnTo>
                        <a:pt x="123" y="25"/>
                      </a:lnTo>
                      <a:lnTo>
                        <a:pt x="121" y="30"/>
                      </a:lnTo>
                      <a:lnTo>
                        <a:pt x="122" y="34"/>
                      </a:lnTo>
                      <a:lnTo>
                        <a:pt x="124" y="38"/>
                      </a:lnTo>
                      <a:lnTo>
                        <a:pt x="123" y="41"/>
                      </a:lnTo>
                      <a:lnTo>
                        <a:pt x="110" y="38"/>
                      </a:lnTo>
                      <a:lnTo>
                        <a:pt x="102" y="37"/>
                      </a:lnTo>
                      <a:lnTo>
                        <a:pt x="98" y="34"/>
                      </a:lnTo>
                      <a:lnTo>
                        <a:pt x="92" y="32"/>
                      </a:lnTo>
                      <a:lnTo>
                        <a:pt x="91" y="38"/>
                      </a:lnTo>
                      <a:lnTo>
                        <a:pt x="84" y="52"/>
                      </a:lnTo>
                      <a:lnTo>
                        <a:pt x="82" y="58"/>
                      </a:lnTo>
                      <a:lnTo>
                        <a:pt x="81" y="61"/>
                      </a:lnTo>
                      <a:lnTo>
                        <a:pt x="77" y="58"/>
                      </a:lnTo>
                      <a:lnTo>
                        <a:pt x="72" y="53"/>
                      </a:lnTo>
                      <a:lnTo>
                        <a:pt x="65" y="47"/>
                      </a:lnTo>
                      <a:lnTo>
                        <a:pt x="61" y="35"/>
                      </a:lnTo>
                      <a:lnTo>
                        <a:pt x="54" y="38"/>
                      </a:lnTo>
                      <a:lnTo>
                        <a:pt x="49" y="44"/>
                      </a:lnTo>
                      <a:lnTo>
                        <a:pt x="49" y="49"/>
                      </a:lnTo>
                      <a:lnTo>
                        <a:pt x="47" y="53"/>
                      </a:lnTo>
                      <a:lnTo>
                        <a:pt x="40" y="59"/>
                      </a:lnTo>
                      <a:lnTo>
                        <a:pt x="32" y="58"/>
                      </a:lnTo>
                      <a:lnTo>
                        <a:pt x="15" y="63"/>
                      </a:lnTo>
                      <a:lnTo>
                        <a:pt x="10" y="63"/>
                      </a:lnTo>
                      <a:lnTo>
                        <a:pt x="3" y="64"/>
                      </a:lnTo>
                      <a:lnTo>
                        <a:pt x="2" y="67"/>
                      </a:lnTo>
                      <a:lnTo>
                        <a:pt x="3" y="70"/>
                      </a:lnTo>
                      <a:lnTo>
                        <a:pt x="11" y="88"/>
                      </a:lnTo>
                      <a:lnTo>
                        <a:pt x="12" y="93"/>
                      </a:lnTo>
                      <a:lnTo>
                        <a:pt x="4" y="99"/>
                      </a:lnTo>
                      <a:lnTo>
                        <a:pt x="1" y="103"/>
                      </a:lnTo>
                      <a:lnTo>
                        <a:pt x="0" y="109"/>
                      </a:lnTo>
                      <a:lnTo>
                        <a:pt x="0" y="112"/>
                      </a:lnTo>
                      <a:lnTo>
                        <a:pt x="2" y="114"/>
                      </a:lnTo>
                      <a:lnTo>
                        <a:pt x="8" y="116"/>
                      </a:lnTo>
                      <a:lnTo>
                        <a:pt x="8" y="122"/>
                      </a:lnTo>
                      <a:lnTo>
                        <a:pt x="6" y="128"/>
                      </a:lnTo>
                      <a:lnTo>
                        <a:pt x="6" y="135"/>
                      </a:lnTo>
                      <a:lnTo>
                        <a:pt x="9" y="142"/>
                      </a:lnTo>
                      <a:lnTo>
                        <a:pt x="13" y="148"/>
                      </a:lnTo>
                      <a:lnTo>
                        <a:pt x="29" y="150"/>
                      </a:lnTo>
                      <a:lnTo>
                        <a:pt x="32" y="156"/>
                      </a:lnTo>
                      <a:lnTo>
                        <a:pt x="32" y="161"/>
                      </a:lnTo>
                      <a:lnTo>
                        <a:pt x="29" y="165"/>
                      </a:lnTo>
                      <a:lnTo>
                        <a:pt x="31" y="168"/>
                      </a:lnTo>
                      <a:lnTo>
                        <a:pt x="36" y="168"/>
                      </a:lnTo>
                      <a:lnTo>
                        <a:pt x="42" y="168"/>
                      </a:lnTo>
                      <a:lnTo>
                        <a:pt x="53" y="162"/>
                      </a:lnTo>
                      <a:lnTo>
                        <a:pt x="54" y="158"/>
                      </a:lnTo>
                      <a:lnTo>
                        <a:pt x="59" y="149"/>
                      </a:lnTo>
                      <a:lnTo>
                        <a:pt x="62" y="148"/>
                      </a:lnTo>
                      <a:lnTo>
                        <a:pt x="65" y="144"/>
                      </a:lnTo>
                      <a:lnTo>
                        <a:pt x="76" y="138"/>
                      </a:lnTo>
                      <a:lnTo>
                        <a:pt x="81" y="138"/>
                      </a:lnTo>
                      <a:lnTo>
                        <a:pt x="88" y="139"/>
                      </a:lnTo>
                      <a:lnTo>
                        <a:pt x="115" y="156"/>
                      </a:lnTo>
                      <a:lnTo>
                        <a:pt x="126" y="160"/>
                      </a:lnTo>
                      <a:lnTo>
                        <a:pt x="128" y="163"/>
                      </a:lnTo>
                      <a:lnTo>
                        <a:pt x="129" y="171"/>
                      </a:lnTo>
                      <a:lnTo>
                        <a:pt x="138" y="194"/>
                      </a:lnTo>
                      <a:lnTo>
                        <a:pt x="140" y="202"/>
                      </a:lnTo>
                      <a:lnTo>
                        <a:pt x="139" y="207"/>
                      </a:lnTo>
                      <a:lnTo>
                        <a:pt x="154" y="220"/>
                      </a:lnTo>
                      <a:lnTo>
                        <a:pt x="159" y="228"/>
                      </a:lnTo>
                      <a:lnTo>
                        <a:pt x="162" y="238"/>
                      </a:lnTo>
                      <a:lnTo>
                        <a:pt x="168" y="237"/>
                      </a:lnTo>
                      <a:lnTo>
                        <a:pt x="172" y="237"/>
                      </a:lnTo>
                      <a:lnTo>
                        <a:pt x="178" y="241"/>
                      </a:lnTo>
                      <a:lnTo>
                        <a:pt x="188" y="254"/>
                      </a:lnTo>
                      <a:lnTo>
                        <a:pt x="194" y="255"/>
                      </a:lnTo>
                      <a:lnTo>
                        <a:pt x="206" y="272"/>
                      </a:lnTo>
                      <a:lnTo>
                        <a:pt x="214" y="280"/>
                      </a:lnTo>
                      <a:lnTo>
                        <a:pt x="230" y="294"/>
                      </a:lnTo>
                      <a:lnTo>
                        <a:pt x="234" y="293"/>
                      </a:lnTo>
                      <a:lnTo>
                        <a:pt x="252" y="294"/>
                      </a:lnTo>
                      <a:lnTo>
                        <a:pt x="256" y="295"/>
                      </a:lnTo>
                      <a:lnTo>
                        <a:pt x="265" y="306"/>
                      </a:lnTo>
                      <a:lnTo>
                        <a:pt x="269" y="312"/>
                      </a:lnTo>
                      <a:lnTo>
                        <a:pt x="279" y="317"/>
                      </a:lnTo>
                      <a:lnTo>
                        <a:pt x="280" y="319"/>
                      </a:lnTo>
                      <a:lnTo>
                        <a:pt x="279" y="324"/>
                      </a:lnTo>
                      <a:lnTo>
                        <a:pt x="292" y="322"/>
                      </a:lnTo>
                      <a:lnTo>
                        <a:pt x="295" y="323"/>
                      </a:lnTo>
                      <a:lnTo>
                        <a:pt x="298" y="326"/>
                      </a:lnTo>
                      <a:lnTo>
                        <a:pt x="301" y="334"/>
                      </a:lnTo>
                      <a:lnTo>
                        <a:pt x="300" y="339"/>
                      </a:lnTo>
                      <a:lnTo>
                        <a:pt x="303" y="344"/>
                      </a:lnTo>
                      <a:lnTo>
                        <a:pt x="311" y="346"/>
                      </a:lnTo>
                      <a:lnTo>
                        <a:pt x="314" y="349"/>
                      </a:lnTo>
                      <a:lnTo>
                        <a:pt x="317" y="355"/>
                      </a:lnTo>
                      <a:lnTo>
                        <a:pt x="320" y="348"/>
                      </a:lnTo>
                      <a:lnTo>
                        <a:pt x="324" y="348"/>
                      </a:lnTo>
                      <a:lnTo>
                        <a:pt x="328" y="356"/>
                      </a:lnTo>
                      <a:lnTo>
                        <a:pt x="328" y="360"/>
                      </a:lnTo>
                      <a:lnTo>
                        <a:pt x="331" y="369"/>
                      </a:lnTo>
                      <a:lnTo>
                        <a:pt x="338" y="382"/>
                      </a:lnTo>
                      <a:lnTo>
                        <a:pt x="341" y="394"/>
                      </a:lnTo>
                      <a:lnTo>
                        <a:pt x="347" y="409"/>
                      </a:lnTo>
                      <a:lnTo>
                        <a:pt x="337" y="413"/>
                      </a:lnTo>
                      <a:lnTo>
                        <a:pt x="331" y="416"/>
                      </a:lnTo>
                      <a:lnTo>
                        <a:pt x="335" y="424"/>
                      </a:lnTo>
                      <a:lnTo>
                        <a:pt x="330" y="431"/>
                      </a:lnTo>
                      <a:lnTo>
                        <a:pt x="327" y="437"/>
                      </a:lnTo>
                      <a:lnTo>
                        <a:pt x="327" y="445"/>
                      </a:lnTo>
                      <a:lnTo>
                        <a:pt x="329" y="450"/>
                      </a:lnTo>
                      <a:lnTo>
                        <a:pt x="330" y="449"/>
                      </a:lnTo>
                      <a:lnTo>
                        <a:pt x="329" y="450"/>
                      </a:lnTo>
                      <a:lnTo>
                        <a:pt x="335" y="450"/>
                      </a:lnTo>
                      <a:lnTo>
                        <a:pt x="339" y="450"/>
                      </a:lnTo>
                      <a:lnTo>
                        <a:pt x="341" y="448"/>
                      </a:lnTo>
                      <a:lnTo>
                        <a:pt x="347" y="437"/>
                      </a:lnTo>
                      <a:lnTo>
                        <a:pt x="349" y="434"/>
                      </a:lnTo>
                      <a:lnTo>
                        <a:pt x="353" y="431"/>
                      </a:lnTo>
                      <a:lnTo>
                        <a:pt x="358" y="429"/>
                      </a:lnTo>
                      <a:lnTo>
                        <a:pt x="359" y="425"/>
                      </a:lnTo>
                      <a:lnTo>
                        <a:pt x="360" y="410"/>
                      </a:lnTo>
                      <a:lnTo>
                        <a:pt x="361" y="408"/>
                      </a:lnTo>
                      <a:lnTo>
                        <a:pt x="366" y="405"/>
                      </a:lnTo>
                      <a:lnTo>
                        <a:pt x="373" y="402"/>
                      </a:lnTo>
                      <a:lnTo>
                        <a:pt x="376" y="402"/>
                      </a:lnTo>
                      <a:lnTo>
                        <a:pt x="377" y="399"/>
                      </a:lnTo>
                      <a:lnTo>
                        <a:pt x="377" y="390"/>
                      </a:lnTo>
                      <a:lnTo>
                        <a:pt x="377" y="387"/>
                      </a:lnTo>
                      <a:lnTo>
                        <a:pt x="376" y="380"/>
                      </a:lnTo>
                      <a:lnTo>
                        <a:pt x="374" y="377"/>
                      </a:lnTo>
                      <a:lnTo>
                        <a:pt x="368" y="372"/>
                      </a:lnTo>
                      <a:lnTo>
                        <a:pt x="364" y="369"/>
                      </a:lnTo>
                      <a:lnTo>
                        <a:pt x="357" y="366"/>
                      </a:lnTo>
                      <a:lnTo>
                        <a:pt x="358" y="358"/>
                      </a:lnTo>
                      <a:lnTo>
                        <a:pt x="361" y="346"/>
                      </a:lnTo>
                      <a:lnTo>
                        <a:pt x="366" y="337"/>
                      </a:lnTo>
                      <a:lnTo>
                        <a:pt x="374" y="330"/>
                      </a:lnTo>
                      <a:lnTo>
                        <a:pt x="381" y="329"/>
                      </a:lnTo>
                      <a:lnTo>
                        <a:pt x="392" y="336"/>
                      </a:lnTo>
                      <a:lnTo>
                        <a:pt x="402" y="339"/>
                      </a:lnTo>
                      <a:lnTo>
                        <a:pt x="408" y="343"/>
                      </a:lnTo>
                      <a:lnTo>
                        <a:pt x="410" y="348"/>
                      </a:lnTo>
                      <a:lnTo>
                        <a:pt x="416" y="356"/>
                      </a:lnTo>
                      <a:lnTo>
                        <a:pt x="422" y="360"/>
                      </a:lnTo>
                      <a:lnTo>
                        <a:pt x="422" y="358"/>
                      </a:lnTo>
                      <a:lnTo>
                        <a:pt x="428" y="348"/>
                      </a:lnTo>
                      <a:lnTo>
                        <a:pt x="426" y="344"/>
                      </a:lnTo>
                      <a:lnTo>
                        <a:pt x="422" y="337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</p:grpSp>
          <p:sp>
            <p:nvSpPr>
              <p:cNvPr id="92" name="Sweden"/>
              <p:cNvSpPr>
                <a:spLocks/>
              </p:cNvSpPr>
              <p:nvPr/>
            </p:nvSpPr>
            <p:spPr bwMode="auto">
              <a:xfrm rot="21300000">
                <a:off x="5140582" y="2092657"/>
                <a:ext cx="748482" cy="1712841"/>
              </a:xfrm>
              <a:custGeom>
                <a:avLst/>
                <a:gdLst>
                  <a:gd name="T0" fmla="*/ 456 w 475"/>
                  <a:gd name="T1" fmla="*/ 196 h 1087"/>
                  <a:gd name="T2" fmla="*/ 454 w 475"/>
                  <a:gd name="T3" fmla="*/ 123 h 1087"/>
                  <a:gd name="T4" fmla="*/ 351 w 475"/>
                  <a:gd name="T5" fmla="*/ 3 h 1087"/>
                  <a:gd name="T6" fmla="*/ 334 w 475"/>
                  <a:gd name="T7" fmla="*/ 18 h 1087"/>
                  <a:gd name="T8" fmla="*/ 326 w 475"/>
                  <a:gd name="T9" fmla="*/ 64 h 1087"/>
                  <a:gd name="T10" fmla="*/ 259 w 475"/>
                  <a:gd name="T11" fmla="*/ 78 h 1087"/>
                  <a:gd name="T12" fmla="*/ 223 w 475"/>
                  <a:gd name="T13" fmla="*/ 98 h 1087"/>
                  <a:gd name="T14" fmla="*/ 185 w 475"/>
                  <a:gd name="T15" fmla="*/ 166 h 1087"/>
                  <a:gd name="T16" fmla="*/ 161 w 475"/>
                  <a:gd name="T17" fmla="*/ 242 h 1087"/>
                  <a:gd name="T18" fmla="*/ 129 w 475"/>
                  <a:gd name="T19" fmla="*/ 295 h 1087"/>
                  <a:gd name="T20" fmla="*/ 108 w 475"/>
                  <a:gd name="T21" fmla="*/ 424 h 1087"/>
                  <a:gd name="T22" fmla="*/ 69 w 475"/>
                  <a:gd name="T23" fmla="*/ 462 h 1087"/>
                  <a:gd name="T24" fmla="*/ 45 w 475"/>
                  <a:gd name="T25" fmla="*/ 537 h 1087"/>
                  <a:gd name="T26" fmla="*/ 37 w 475"/>
                  <a:gd name="T27" fmla="*/ 587 h 1087"/>
                  <a:gd name="T28" fmla="*/ 58 w 475"/>
                  <a:gd name="T29" fmla="*/ 685 h 1087"/>
                  <a:gd name="T30" fmla="*/ 49 w 475"/>
                  <a:gd name="T31" fmla="*/ 756 h 1087"/>
                  <a:gd name="T32" fmla="*/ 22 w 475"/>
                  <a:gd name="T33" fmla="*/ 823 h 1087"/>
                  <a:gd name="T34" fmla="*/ 0 w 475"/>
                  <a:gd name="T35" fmla="*/ 846 h 1087"/>
                  <a:gd name="T36" fmla="*/ 9 w 475"/>
                  <a:gd name="T37" fmla="*/ 894 h 1087"/>
                  <a:gd name="T38" fmla="*/ 16 w 475"/>
                  <a:gd name="T39" fmla="*/ 898 h 1087"/>
                  <a:gd name="T40" fmla="*/ 26 w 475"/>
                  <a:gd name="T41" fmla="*/ 938 h 1087"/>
                  <a:gd name="T42" fmla="*/ 49 w 475"/>
                  <a:gd name="T43" fmla="*/ 992 h 1087"/>
                  <a:gd name="T44" fmla="*/ 55 w 475"/>
                  <a:gd name="T45" fmla="*/ 1020 h 1087"/>
                  <a:gd name="T46" fmla="*/ 68 w 475"/>
                  <a:gd name="T47" fmla="*/ 1070 h 1087"/>
                  <a:gd name="T48" fmla="*/ 91 w 475"/>
                  <a:gd name="T49" fmla="*/ 1082 h 1087"/>
                  <a:gd name="T50" fmla="*/ 119 w 475"/>
                  <a:gd name="T51" fmla="*/ 1042 h 1087"/>
                  <a:gd name="T52" fmla="*/ 167 w 475"/>
                  <a:gd name="T53" fmla="*/ 1036 h 1087"/>
                  <a:gd name="T54" fmla="*/ 193 w 475"/>
                  <a:gd name="T55" fmla="*/ 966 h 1087"/>
                  <a:gd name="T56" fmla="*/ 195 w 475"/>
                  <a:gd name="T57" fmla="*/ 922 h 1087"/>
                  <a:gd name="T58" fmla="*/ 203 w 475"/>
                  <a:gd name="T59" fmla="*/ 906 h 1087"/>
                  <a:gd name="T60" fmla="*/ 200 w 475"/>
                  <a:gd name="T61" fmla="*/ 882 h 1087"/>
                  <a:gd name="T62" fmla="*/ 207 w 475"/>
                  <a:gd name="T63" fmla="*/ 868 h 1087"/>
                  <a:gd name="T64" fmla="*/ 238 w 475"/>
                  <a:gd name="T65" fmla="*/ 841 h 1087"/>
                  <a:gd name="T66" fmla="*/ 267 w 475"/>
                  <a:gd name="T67" fmla="*/ 826 h 1087"/>
                  <a:gd name="T68" fmla="*/ 222 w 475"/>
                  <a:gd name="T69" fmla="*/ 820 h 1087"/>
                  <a:gd name="T70" fmla="*/ 200 w 475"/>
                  <a:gd name="T71" fmla="*/ 803 h 1087"/>
                  <a:gd name="T72" fmla="*/ 229 w 475"/>
                  <a:gd name="T73" fmla="*/ 808 h 1087"/>
                  <a:gd name="T74" fmla="*/ 275 w 475"/>
                  <a:gd name="T75" fmla="*/ 794 h 1087"/>
                  <a:gd name="T76" fmla="*/ 268 w 475"/>
                  <a:gd name="T77" fmla="*/ 751 h 1087"/>
                  <a:gd name="T78" fmla="*/ 231 w 475"/>
                  <a:gd name="T79" fmla="*/ 725 h 1087"/>
                  <a:gd name="T80" fmla="*/ 191 w 475"/>
                  <a:gd name="T81" fmla="*/ 763 h 1087"/>
                  <a:gd name="T82" fmla="*/ 226 w 475"/>
                  <a:gd name="T83" fmla="*/ 730 h 1087"/>
                  <a:gd name="T84" fmla="*/ 219 w 475"/>
                  <a:gd name="T85" fmla="*/ 672 h 1087"/>
                  <a:gd name="T86" fmla="*/ 226 w 475"/>
                  <a:gd name="T87" fmla="*/ 628 h 1087"/>
                  <a:gd name="T88" fmla="*/ 238 w 475"/>
                  <a:gd name="T89" fmla="*/ 586 h 1087"/>
                  <a:gd name="T90" fmla="*/ 244 w 475"/>
                  <a:gd name="T91" fmla="*/ 550 h 1087"/>
                  <a:gd name="T92" fmla="*/ 264 w 475"/>
                  <a:gd name="T93" fmla="*/ 548 h 1087"/>
                  <a:gd name="T94" fmla="*/ 278 w 475"/>
                  <a:gd name="T95" fmla="*/ 527 h 1087"/>
                  <a:gd name="T96" fmla="*/ 313 w 475"/>
                  <a:gd name="T97" fmla="*/ 503 h 1087"/>
                  <a:gd name="T98" fmla="*/ 347 w 475"/>
                  <a:gd name="T99" fmla="*/ 476 h 1087"/>
                  <a:gd name="T100" fmla="*/ 376 w 475"/>
                  <a:gd name="T101" fmla="*/ 428 h 1087"/>
                  <a:gd name="T102" fmla="*/ 370 w 475"/>
                  <a:gd name="T103" fmla="*/ 409 h 1087"/>
                  <a:gd name="T104" fmla="*/ 371 w 475"/>
                  <a:gd name="T105" fmla="*/ 385 h 1087"/>
                  <a:gd name="T106" fmla="*/ 385 w 475"/>
                  <a:gd name="T107" fmla="*/ 339 h 1087"/>
                  <a:gd name="T108" fmla="*/ 402 w 475"/>
                  <a:gd name="T109" fmla="*/ 328 h 1087"/>
                  <a:gd name="T110" fmla="*/ 408 w 475"/>
                  <a:gd name="T111" fmla="*/ 316 h 1087"/>
                  <a:gd name="T112" fmla="*/ 422 w 475"/>
                  <a:gd name="T113" fmla="*/ 309 h 1087"/>
                  <a:gd name="T114" fmla="*/ 460 w 475"/>
                  <a:gd name="T115" fmla="*/ 304 h 10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75" h="1087">
                    <a:moveTo>
                      <a:pt x="463" y="274"/>
                    </a:moveTo>
                    <a:lnTo>
                      <a:pt x="461" y="261"/>
                    </a:lnTo>
                    <a:lnTo>
                      <a:pt x="464" y="249"/>
                    </a:lnTo>
                    <a:lnTo>
                      <a:pt x="470" y="240"/>
                    </a:lnTo>
                    <a:lnTo>
                      <a:pt x="470" y="234"/>
                    </a:lnTo>
                    <a:lnTo>
                      <a:pt x="470" y="225"/>
                    </a:lnTo>
                    <a:lnTo>
                      <a:pt x="456" y="196"/>
                    </a:lnTo>
                    <a:lnTo>
                      <a:pt x="454" y="185"/>
                    </a:lnTo>
                    <a:lnTo>
                      <a:pt x="459" y="171"/>
                    </a:lnTo>
                    <a:lnTo>
                      <a:pt x="458" y="162"/>
                    </a:lnTo>
                    <a:lnTo>
                      <a:pt x="454" y="157"/>
                    </a:lnTo>
                    <a:lnTo>
                      <a:pt x="453" y="147"/>
                    </a:lnTo>
                    <a:lnTo>
                      <a:pt x="453" y="133"/>
                    </a:lnTo>
                    <a:lnTo>
                      <a:pt x="454" y="123"/>
                    </a:lnTo>
                    <a:lnTo>
                      <a:pt x="458" y="115"/>
                    </a:lnTo>
                    <a:lnTo>
                      <a:pt x="455" y="110"/>
                    </a:lnTo>
                    <a:lnTo>
                      <a:pt x="435" y="72"/>
                    </a:lnTo>
                    <a:lnTo>
                      <a:pt x="422" y="61"/>
                    </a:lnTo>
                    <a:lnTo>
                      <a:pt x="398" y="54"/>
                    </a:lnTo>
                    <a:lnTo>
                      <a:pt x="379" y="33"/>
                    </a:lnTo>
                    <a:lnTo>
                      <a:pt x="351" y="3"/>
                    </a:lnTo>
                    <a:lnTo>
                      <a:pt x="349" y="0"/>
                    </a:lnTo>
                    <a:lnTo>
                      <a:pt x="348" y="0"/>
                    </a:lnTo>
                    <a:lnTo>
                      <a:pt x="332" y="0"/>
                    </a:lnTo>
                    <a:lnTo>
                      <a:pt x="329" y="2"/>
                    </a:lnTo>
                    <a:lnTo>
                      <a:pt x="329" y="8"/>
                    </a:lnTo>
                    <a:lnTo>
                      <a:pt x="332" y="12"/>
                    </a:lnTo>
                    <a:lnTo>
                      <a:pt x="334" y="18"/>
                    </a:lnTo>
                    <a:lnTo>
                      <a:pt x="332" y="25"/>
                    </a:lnTo>
                    <a:lnTo>
                      <a:pt x="329" y="28"/>
                    </a:lnTo>
                    <a:lnTo>
                      <a:pt x="327" y="38"/>
                    </a:lnTo>
                    <a:lnTo>
                      <a:pt x="324" y="46"/>
                    </a:lnTo>
                    <a:lnTo>
                      <a:pt x="324" y="52"/>
                    </a:lnTo>
                    <a:lnTo>
                      <a:pt x="330" y="59"/>
                    </a:lnTo>
                    <a:lnTo>
                      <a:pt x="326" y="64"/>
                    </a:lnTo>
                    <a:lnTo>
                      <a:pt x="320" y="65"/>
                    </a:lnTo>
                    <a:lnTo>
                      <a:pt x="292" y="55"/>
                    </a:lnTo>
                    <a:lnTo>
                      <a:pt x="271" y="53"/>
                    </a:lnTo>
                    <a:lnTo>
                      <a:pt x="264" y="54"/>
                    </a:lnTo>
                    <a:lnTo>
                      <a:pt x="261" y="56"/>
                    </a:lnTo>
                    <a:lnTo>
                      <a:pt x="258" y="63"/>
                    </a:lnTo>
                    <a:lnTo>
                      <a:pt x="259" y="78"/>
                    </a:lnTo>
                    <a:lnTo>
                      <a:pt x="258" y="85"/>
                    </a:lnTo>
                    <a:lnTo>
                      <a:pt x="254" y="99"/>
                    </a:lnTo>
                    <a:lnTo>
                      <a:pt x="249" y="110"/>
                    </a:lnTo>
                    <a:lnTo>
                      <a:pt x="246" y="109"/>
                    </a:lnTo>
                    <a:lnTo>
                      <a:pt x="239" y="100"/>
                    </a:lnTo>
                    <a:lnTo>
                      <a:pt x="231" y="96"/>
                    </a:lnTo>
                    <a:lnTo>
                      <a:pt x="223" y="98"/>
                    </a:lnTo>
                    <a:lnTo>
                      <a:pt x="211" y="111"/>
                    </a:lnTo>
                    <a:lnTo>
                      <a:pt x="205" y="118"/>
                    </a:lnTo>
                    <a:lnTo>
                      <a:pt x="202" y="130"/>
                    </a:lnTo>
                    <a:lnTo>
                      <a:pt x="201" y="139"/>
                    </a:lnTo>
                    <a:lnTo>
                      <a:pt x="197" y="145"/>
                    </a:lnTo>
                    <a:lnTo>
                      <a:pt x="188" y="156"/>
                    </a:lnTo>
                    <a:lnTo>
                      <a:pt x="185" y="166"/>
                    </a:lnTo>
                    <a:lnTo>
                      <a:pt x="194" y="180"/>
                    </a:lnTo>
                    <a:lnTo>
                      <a:pt x="195" y="189"/>
                    </a:lnTo>
                    <a:lnTo>
                      <a:pt x="194" y="194"/>
                    </a:lnTo>
                    <a:lnTo>
                      <a:pt x="190" y="202"/>
                    </a:lnTo>
                    <a:lnTo>
                      <a:pt x="181" y="212"/>
                    </a:lnTo>
                    <a:lnTo>
                      <a:pt x="177" y="221"/>
                    </a:lnTo>
                    <a:lnTo>
                      <a:pt x="161" y="242"/>
                    </a:lnTo>
                    <a:lnTo>
                      <a:pt x="157" y="251"/>
                    </a:lnTo>
                    <a:lnTo>
                      <a:pt x="156" y="265"/>
                    </a:lnTo>
                    <a:lnTo>
                      <a:pt x="152" y="273"/>
                    </a:lnTo>
                    <a:lnTo>
                      <a:pt x="140" y="282"/>
                    </a:lnTo>
                    <a:lnTo>
                      <a:pt x="133" y="282"/>
                    </a:lnTo>
                    <a:lnTo>
                      <a:pt x="128" y="285"/>
                    </a:lnTo>
                    <a:lnTo>
                      <a:pt x="129" y="295"/>
                    </a:lnTo>
                    <a:lnTo>
                      <a:pt x="129" y="309"/>
                    </a:lnTo>
                    <a:lnTo>
                      <a:pt x="128" y="328"/>
                    </a:lnTo>
                    <a:lnTo>
                      <a:pt x="123" y="362"/>
                    </a:lnTo>
                    <a:lnTo>
                      <a:pt x="112" y="386"/>
                    </a:lnTo>
                    <a:lnTo>
                      <a:pt x="99" y="407"/>
                    </a:lnTo>
                    <a:lnTo>
                      <a:pt x="99" y="414"/>
                    </a:lnTo>
                    <a:lnTo>
                      <a:pt x="108" y="424"/>
                    </a:lnTo>
                    <a:lnTo>
                      <a:pt x="113" y="432"/>
                    </a:lnTo>
                    <a:lnTo>
                      <a:pt x="113" y="445"/>
                    </a:lnTo>
                    <a:lnTo>
                      <a:pt x="111" y="453"/>
                    </a:lnTo>
                    <a:lnTo>
                      <a:pt x="104" y="461"/>
                    </a:lnTo>
                    <a:lnTo>
                      <a:pt x="95" y="461"/>
                    </a:lnTo>
                    <a:lnTo>
                      <a:pt x="83" y="457"/>
                    </a:lnTo>
                    <a:lnTo>
                      <a:pt x="69" y="462"/>
                    </a:lnTo>
                    <a:lnTo>
                      <a:pt x="58" y="469"/>
                    </a:lnTo>
                    <a:lnTo>
                      <a:pt x="42" y="489"/>
                    </a:lnTo>
                    <a:lnTo>
                      <a:pt x="37" y="500"/>
                    </a:lnTo>
                    <a:lnTo>
                      <a:pt x="35" y="512"/>
                    </a:lnTo>
                    <a:lnTo>
                      <a:pt x="37" y="524"/>
                    </a:lnTo>
                    <a:lnTo>
                      <a:pt x="42" y="534"/>
                    </a:lnTo>
                    <a:lnTo>
                      <a:pt x="45" y="537"/>
                    </a:lnTo>
                    <a:lnTo>
                      <a:pt x="40" y="544"/>
                    </a:lnTo>
                    <a:lnTo>
                      <a:pt x="39" y="552"/>
                    </a:lnTo>
                    <a:lnTo>
                      <a:pt x="37" y="558"/>
                    </a:lnTo>
                    <a:lnTo>
                      <a:pt x="37" y="571"/>
                    </a:lnTo>
                    <a:lnTo>
                      <a:pt x="35" y="577"/>
                    </a:lnTo>
                    <a:lnTo>
                      <a:pt x="35" y="586"/>
                    </a:lnTo>
                    <a:lnTo>
                      <a:pt x="37" y="587"/>
                    </a:lnTo>
                    <a:lnTo>
                      <a:pt x="40" y="596"/>
                    </a:lnTo>
                    <a:lnTo>
                      <a:pt x="39" y="625"/>
                    </a:lnTo>
                    <a:lnTo>
                      <a:pt x="40" y="639"/>
                    </a:lnTo>
                    <a:lnTo>
                      <a:pt x="46" y="649"/>
                    </a:lnTo>
                    <a:lnTo>
                      <a:pt x="59" y="659"/>
                    </a:lnTo>
                    <a:lnTo>
                      <a:pt x="61" y="673"/>
                    </a:lnTo>
                    <a:lnTo>
                      <a:pt x="58" y="685"/>
                    </a:lnTo>
                    <a:lnTo>
                      <a:pt x="50" y="693"/>
                    </a:lnTo>
                    <a:lnTo>
                      <a:pt x="42" y="696"/>
                    </a:lnTo>
                    <a:lnTo>
                      <a:pt x="39" y="701"/>
                    </a:lnTo>
                    <a:lnTo>
                      <a:pt x="46" y="709"/>
                    </a:lnTo>
                    <a:lnTo>
                      <a:pt x="51" y="731"/>
                    </a:lnTo>
                    <a:lnTo>
                      <a:pt x="46" y="751"/>
                    </a:lnTo>
                    <a:lnTo>
                      <a:pt x="49" y="756"/>
                    </a:lnTo>
                    <a:lnTo>
                      <a:pt x="48" y="766"/>
                    </a:lnTo>
                    <a:lnTo>
                      <a:pt x="45" y="774"/>
                    </a:lnTo>
                    <a:lnTo>
                      <a:pt x="26" y="780"/>
                    </a:lnTo>
                    <a:lnTo>
                      <a:pt x="26" y="790"/>
                    </a:lnTo>
                    <a:lnTo>
                      <a:pt x="17" y="805"/>
                    </a:lnTo>
                    <a:lnTo>
                      <a:pt x="18" y="814"/>
                    </a:lnTo>
                    <a:lnTo>
                      <a:pt x="22" y="823"/>
                    </a:lnTo>
                    <a:lnTo>
                      <a:pt x="16" y="848"/>
                    </a:lnTo>
                    <a:lnTo>
                      <a:pt x="11" y="852"/>
                    </a:lnTo>
                    <a:lnTo>
                      <a:pt x="9" y="846"/>
                    </a:lnTo>
                    <a:lnTo>
                      <a:pt x="6" y="855"/>
                    </a:lnTo>
                    <a:lnTo>
                      <a:pt x="6" y="840"/>
                    </a:lnTo>
                    <a:lnTo>
                      <a:pt x="4" y="837"/>
                    </a:lnTo>
                    <a:lnTo>
                      <a:pt x="0" y="846"/>
                    </a:lnTo>
                    <a:lnTo>
                      <a:pt x="0" y="853"/>
                    </a:lnTo>
                    <a:lnTo>
                      <a:pt x="4" y="880"/>
                    </a:lnTo>
                    <a:lnTo>
                      <a:pt x="5" y="883"/>
                    </a:lnTo>
                    <a:lnTo>
                      <a:pt x="9" y="885"/>
                    </a:lnTo>
                    <a:lnTo>
                      <a:pt x="10" y="887"/>
                    </a:lnTo>
                    <a:lnTo>
                      <a:pt x="10" y="892"/>
                    </a:lnTo>
                    <a:lnTo>
                      <a:pt x="9" y="894"/>
                    </a:lnTo>
                    <a:lnTo>
                      <a:pt x="13" y="890"/>
                    </a:lnTo>
                    <a:lnTo>
                      <a:pt x="14" y="885"/>
                    </a:lnTo>
                    <a:lnTo>
                      <a:pt x="17" y="888"/>
                    </a:lnTo>
                    <a:lnTo>
                      <a:pt x="15" y="894"/>
                    </a:lnTo>
                    <a:lnTo>
                      <a:pt x="17" y="894"/>
                    </a:lnTo>
                    <a:lnTo>
                      <a:pt x="20" y="895"/>
                    </a:lnTo>
                    <a:lnTo>
                      <a:pt x="16" y="898"/>
                    </a:lnTo>
                    <a:lnTo>
                      <a:pt x="12" y="904"/>
                    </a:lnTo>
                    <a:lnTo>
                      <a:pt x="22" y="909"/>
                    </a:lnTo>
                    <a:lnTo>
                      <a:pt x="24" y="915"/>
                    </a:lnTo>
                    <a:lnTo>
                      <a:pt x="22" y="926"/>
                    </a:lnTo>
                    <a:lnTo>
                      <a:pt x="29" y="924"/>
                    </a:lnTo>
                    <a:lnTo>
                      <a:pt x="31" y="932"/>
                    </a:lnTo>
                    <a:lnTo>
                      <a:pt x="26" y="938"/>
                    </a:lnTo>
                    <a:lnTo>
                      <a:pt x="28" y="948"/>
                    </a:lnTo>
                    <a:lnTo>
                      <a:pt x="27" y="956"/>
                    </a:lnTo>
                    <a:lnTo>
                      <a:pt x="33" y="956"/>
                    </a:lnTo>
                    <a:lnTo>
                      <a:pt x="36" y="964"/>
                    </a:lnTo>
                    <a:lnTo>
                      <a:pt x="38" y="972"/>
                    </a:lnTo>
                    <a:lnTo>
                      <a:pt x="42" y="984"/>
                    </a:lnTo>
                    <a:lnTo>
                      <a:pt x="49" y="992"/>
                    </a:lnTo>
                    <a:lnTo>
                      <a:pt x="53" y="1000"/>
                    </a:lnTo>
                    <a:lnTo>
                      <a:pt x="60" y="1004"/>
                    </a:lnTo>
                    <a:lnTo>
                      <a:pt x="66" y="1010"/>
                    </a:lnTo>
                    <a:lnTo>
                      <a:pt x="66" y="1016"/>
                    </a:lnTo>
                    <a:lnTo>
                      <a:pt x="61" y="1018"/>
                    </a:lnTo>
                    <a:lnTo>
                      <a:pt x="56" y="1018"/>
                    </a:lnTo>
                    <a:lnTo>
                      <a:pt x="55" y="1020"/>
                    </a:lnTo>
                    <a:lnTo>
                      <a:pt x="60" y="1031"/>
                    </a:lnTo>
                    <a:lnTo>
                      <a:pt x="55" y="1030"/>
                    </a:lnTo>
                    <a:lnTo>
                      <a:pt x="50" y="1028"/>
                    </a:lnTo>
                    <a:lnTo>
                      <a:pt x="50" y="1032"/>
                    </a:lnTo>
                    <a:lnTo>
                      <a:pt x="60" y="1055"/>
                    </a:lnTo>
                    <a:lnTo>
                      <a:pt x="66" y="1063"/>
                    </a:lnTo>
                    <a:lnTo>
                      <a:pt x="68" y="1070"/>
                    </a:lnTo>
                    <a:lnTo>
                      <a:pt x="66" y="1073"/>
                    </a:lnTo>
                    <a:lnTo>
                      <a:pt x="66" y="1081"/>
                    </a:lnTo>
                    <a:lnTo>
                      <a:pt x="63" y="1082"/>
                    </a:lnTo>
                    <a:lnTo>
                      <a:pt x="62" y="1085"/>
                    </a:lnTo>
                    <a:lnTo>
                      <a:pt x="71" y="1084"/>
                    </a:lnTo>
                    <a:lnTo>
                      <a:pt x="79" y="1087"/>
                    </a:lnTo>
                    <a:lnTo>
                      <a:pt x="91" y="1082"/>
                    </a:lnTo>
                    <a:lnTo>
                      <a:pt x="102" y="1082"/>
                    </a:lnTo>
                    <a:lnTo>
                      <a:pt x="108" y="1085"/>
                    </a:lnTo>
                    <a:lnTo>
                      <a:pt x="112" y="1082"/>
                    </a:lnTo>
                    <a:lnTo>
                      <a:pt x="115" y="1073"/>
                    </a:lnTo>
                    <a:lnTo>
                      <a:pt x="113" y="1059"/>
                    </a:lnTo>
                    <a:lnTo>
                      <a:pt x="116" y="1050"/>
                    </a:lnTo>
                    <a:lnTo>
                      <a:pt x="119" y="1042"/>
                    </a:lnTo>
                    <a:lnTo>
                      <a:pt x="126" y="1044"/>
                    </a:lnTo>
                    <a:lnTo>
                      <a:pt x="129" y="1038"/>
                    </a:lnTo>
                    <a:lnTo>
                      <a:pt x="136" y="1033"/>
                    </a:lnTo>
                    <a:lnTo>
                      <a:pt x="146" y="1033"/>
                    </a:lnTo>
                    <a:lnTo>
                      <a:pt x="151" y="1036"/>
                    </a:lnTo>
                    <a:lnTo>
                      <a:pt x="159" y="1033"/>
                    </a:lnTo>
                    <a:lnTo>
                      <a:pt x="167" y="1036"/>
                    </a:lnTo>
                    <a:lnTo>
                      <a:pt x="174" y="1036"/>
                    </a:lnTo>
                    <a:lnTo>
                      <a:pt x="178" y="1024"/>
                    </a:lnTo>
                    <a:lnTo>
                      <a:pt x="183" y="1008"/>
                    </a:lnTo>
                    <a:lnTo>
                      <a:pt x="190" y="997"/>
                    </a:lnTo>
                    <a:lnTo>
                      <a:pt x="191" y="983"/>
                    </a:lnTo>
                    <a:lnTo>
                      <a:pt x="193" y="974"/>
                    </a:lnTo>
                    <a:lnTo>
                      <a:pt x="193" y="966"/>
                    </a:lnTo>
                    <a:lnTo>
                      <a:pt x="195" y="958"/>
                    </a:lnTo>
                    <a:lnTo>
                      <a:pt x="199" y="950"/>
                    </a:lnTo>
                    <a:lnTo>
                      <a:pt x="199" y="944"/>
                    </a:lnTo>
                    <a:lnTo>
                      <a:pt x="195" y="939"/>
                    </a:lnTo>
                    <a:lnTo>
                      <a:pt x="200" y="932"/>
                    </a:lnTo>
                    <a:lnTo>
                      <a:pt x="199" y="926"/>
                    </a:lnTo>
                    <a:lnTo>
                      <a:pt x="195" y="922"/>
                    </a:lnTo>
                    <a:lnTo>
                      <a:pt x="194" y="918"/>
                    </a:lnTo>
                    <a:lnTo>
                      <a:pt x="195" y="915"/>
                    </a:lnTo>
                    <a:lnTo>
                      <a:pt x="200" y="917"/>
                    </a:lnTo>
                    <a:lnTo>
                      <a:pt x="203" y="917"/>
                    </a:lnTo>
                    <a:lnTo>
                      <a:pt x="201" y="913"/>
                    </a:lnTo>
                    <a:lnTo>
                      <a:pt x="201" y="910"/>
                    </a:lnTo>
                    <a:lnTo>
                      <a:pt x="203" y="906"/>
                    </a:lnTo>
                    <a:lnTo>
                      <a:pt x="203" y="903"/>
                    </a:lnTo>
                    <a:lnTo>
                      <a:pt x="204" y="891"/>
                    </a:lnTo>
                    <a:lnTo>
                      <a:pt x="203" y="888"/>
                    </a:lnTo>
                    <a:lnTo>
                      <a:pt x="199" y="883"/>
                    </a:lnTo>
                    <a:lnTo>
                      <a:pt x="192" y="880"/>
                    </a:lnTo>
                    <a:lnTo>
                      <a:pt x="193" y="880"/>
                    </a:lnTo>
                    <a:lnTo>
                      <a:pt x="200" y="882"/>
                    </a:lnTo>
                    <a:lnTo>
                      <a:pt x="205" y="881"/>
                    </a:lnTo>
                    <a:lnTo>
                      <a:pt x="207" y="878"/>
                    </a:lnTo>
                    <a:lnTo>
                      <a:pt x="201" y="872"/>
                    </a:lnTo>
                    <a:lnTo>
                      <a:pt x="182" y="869"/>
                    </a:lnTo>
                    <a:lnTo>
                      <a:pt x="183" y="867"/>
                    </a:lnTo>
                    <a:lnTo>
                      <a:pt x="199" y="866"/>
                    </a:lnTo>
                    <a:lnTo>
                      <a:pt x="207" y="868"/>
                    </a:lnTo>
                    <a:lnTo>
                      <a:pt x="212" y="866"/>
                    </a:lnTo>
                    <a:lnTo>
                      <a:pt x="213" y="860"/>
                    </a:lnTo>
                    <a:lnTo>
                      <a:pt x="222" y="859"/>
                    </a:lnTo>
                    <a:lnTo>
                      <a:pt x="229" y="852"/>
                    </a:lnTo>
                    <a:lnTo>
                      <a:pt x="234" y="847"/>
                    </a:lnTo>
                    <a:lnTo>
                      <a:pt x="234" y="840"/>
                    </a:lnTo>
                    <a:lnTo>
                      <a:pt x="238" y="841"/>
                    </a:lnTo>
                    <a:lnTo>
                      <a:pt x="238" y="849"/>
                    </a:lnTo>
                    <a:lnTo>
                      <a:pt x="247" y="848"/>
                    </a:lnTo>
                    <a:lnTo>
                      <a:pt x="251" y="840"/>
                    </a:lnTo>
                    <a:lnTo>
                      <a:pt x="261" y="832"/>
                    </a:lnTo>
                    <a:lnTo>
                      <a:pt x="259" y="823"/>
                    </a:lnTo>
                    <a:lnTo>
                      <a:pt x="262" y="826"/>
                    </a:lnTo>
                    <a:lnTo>
                      <a:pt x="267" y="826"/>
                    </a:lnTo>
                    <a:lnTo>
                      <a:pt x="267" y="822"/>
                    </a:lnTo>
                    <a:lnTo>
                      <a:pt x="270" y="820"/>
                    </a:lnTo>
                    <a:lnTo>
                      <a:pt x="270" y="817"/>
                    </a:lnTo>
                    <a:lnTo>
                      <a:pt x="235" y="823"/>
                    </a:lnTo>
                    <a:lnTo>
                      <a:pt x="227" y="822"/>
                    </a:lnTo>
                    <a:lnTo>
                      <a:pt x="224" y="824"/>
                    </a:lnTo>
                    <a:lnTo>
                      <a:pt x="222" y="820"/>
                    </a:lnTo>
                    <a:lnTo>
                      <a:pt x="218" y="817"/>
                    </a:lnTo>
                    <a:lnTo>
                      <a:pt x="202" y="810"/>
                    </a:lnTo>
                    <a:lnTo>
                      <a:pt x="193" y="811"/>
                    </a:lnTo>
                    <a:lnTo>
                      <a:pt x="189" y="809"/>
                    </a:lnTo>
                    <a:lnTo>
                      <a:pt x="193" y="807"/>
                    </a:lnTo>
                    <a:lnTo>
                      <a:pt x="195" y="802"/>
                    </a:lnTo>
                    <a:lnTo>
                      <a:pt x="200" y="803"/>
                    </a:lnTo>
                    <a:lnTo>
                      <a:pt x="205" y="802"/>
                    </a:lnTo>
                    <a:lnTo>
                      <a:pt x="213" y="803"/>
                    </a:lnTo>
                    <a:lnTo>
                      <a:pt x="214" y="802"/>
                    </a:lnTo>
                    <a:lnTo>
                      <a:pt x="220" y="809"/>
                    </a:lnTo>
                    <a:lnTo>
                      <a:pt x="225" y="807"/>
                    </a:lnTo>
                    <a:lnTo>
                      <a:pt x="225" y="805"/>
                    </a:lnTo>
                    <a:lnTo>
                      <a:pt x="229" y="808"/>
                    </a:lnTo>
                    <a:lnTo>
                      <a:pt x="235" y="810"/>
                    </a:lnTo>
                    <a:lnTo>
                      <a:pt x="237" y="806"/>
                    </a:lnTo>
                    <a:lnTo>
                      <a:pt x="239" y="808"/>
                    </a:lnTo>
                    <a:lnTo>
                      <a:pt x="241" y="814"/>
                    </a:lnTo>
                    <a:lnTo>
                      <a:pt x="247" y="817"/>
                    </a:lnTo>
                    <a:lnTo>
                      <a:pt x="268" y="806"/>
                    </a:lnTo>
                    <a:lnTo>
                      <a:pt x="275" y="794"/>
                    </a:lnTo>
                    <a:lnTo>
                      <a:pt x="279" y="790"/>
                    </a:lnTo>
                    <a:lnTo>
                      <a:pt x="281" y="779"/>
                    </a:lnTo>
                    <a:lnTo>
                      <a:pt x="276" y="770"/>
                    </a:lnTo>
                    <a:lnTo>
                      <a:pt x="269" y="763"/>
                    </a:lnTo>
                    <a:lnTo>
                      <a:pt x="262" y="753"/>
                    </a:lnTo>
                    <a:lnTo>
                      <a:pt x="268" y="753"/>
                    </a:lnTo>
                    <a:lnTo>
                      <a:pt x="268" y="751"/>
                    </a:lnTo>
                    <a:lnTo>
                      <a:pt x="252" y="743"/>
                    </a:lnTo>
                    <a:lnTo>
                      <a:pt x="252" y="738"/>
                    </a:lnTo>
                    <a:lnTo>
                      <a:pt x="249" y="731"/>
                    </a:lnTo>
                    <a:lnTo>
                      <a:pt x="238" y="732"/>
                    </a:lnTo>
                    <a:lnTo>
                      <a:pt x="235" y="729"/>
                    </a:lnTo>
                    <a:lnTo>
                      <a:pt x="234" y="726"/>
                    </a:lnTo>
                    <a:lnTo>
                      <a:pt x="231" y="725"/>
                    </a:lnTo>
                    <a:lnTo>
                      <a:pt x="231" y="728"/>
                    </a:lnTo>
                    <a:lnTo>
                      <a:pt x="227" y="740"/>
                    </a:lnTo>
                    <a:lnTo>
                      <a:pt x="222" y="748"/>
                    </a:lnTo>
                    <a:lnTo>
                      <a:pt x="209" y="757"/>
                    </a:lnTo>
                    <a:lnTo>
                      <a:pt x="205" y="761"/>
                    </a:lnTo>
                    <a:lnTo>
                      <a:pt x="199" y="761"/>
                    </a:lnTo>
                    <a:lnTo>
                      <a:pt x="191" y="763"/>
                    </a:lnTo>
                    <a:lnTo>
                      <a:pt x="186" y="761"/>
                    </a:lnTo>
                    <a:lnTo>
                      <a:pt x="192" y="757"/>
                    </a:lnTo>
                    <a:lnTo>
                      <a:pt x="200" y="755"/>
                    </a:lnTo>
                    <a:lnTo>
                      <a:pt x="205" y="750"/>
                    </a:lnTo>
                    <a:lnTo>
                      <a:pt x="212" y="747"/>
                    </a:lnTo>
                    <a:lnTo>
                      <a:pt x="224" y="737"/>
                    </a:lnTo>
                    <a:lnTo>
                      <a:pt x="226" y="730"/>
                    </a:lnTo>
                    <a:lnTo>
                      <a:pt x="226" y="721"/>
                    </a:lnTo>
                    <a:lnTo>
                      <a:pt x="219" y="720"/>
                    </a:lnTo>
                    <a:lnTo>
                      <a:pt x="223" y="715"/>
                    </a:lnTo>
                    <a:lnTo>
                      <a:pt x="223" y="708"/>
                    </a:lnTo>
                    <a:lnTo>
                      <a:pt x="220" y="703"/>
                    </a:lnTo>
                    <a:lnTo>
                      <a:pt x="218" y="684"/>
                    </a:lnTo>
                    <a:lnTo>
                      <a:pt x="219" y="672"/>
                    </a:lnTo>
                    <a:lnTo>
                      <a:pt x="216" y="657"/>
                    </a:lnTo>
                    <a:lnTo>
                      <a:pt x="217" y="652"/>
                    </a:lnTo>
                    <a:lnTo>
                      <a:pt x="219" y="647"/>
                    </a:lnTo>
                    <a:lnTo>
                      <a:pt x="218" y="644"/>
                    </a:lnTo>
                    <a:lnTo>
                      <a:pt x="228" y="649"/>
                    </a:lnTo>
                    <a:lnTo>
                      <a:pt x="229" y="644"/>
                    </a:lnTo>
                    <a:lnTo>
                      <a:pt x="226" y="628"/>
                    </a:lnTo>
                    <a:lnTo>
                      <a:pt x="229" y="615"/>
                    </a:lnTo>
                    <a:lnTo>
                      <a:pt x="233" y="603"/>
                    </a:lnTo>
                    <a:lnTo>
                      <a:pt x="228" y="596"/>
                    </a:lnTo>
                    <a:lnTo>
                      <a:pt x="226" y="591"/>
                    </a:lnTo>
                    <a:lnTo>
                      <a:pt x="226" y="581"/>
                    </a:lnTo>
                    <a:lnTo>
                      <a:pt x="237" y="588"/>
                    </a:lnTo>
                    <a:lnTo>
                      <a:pt x="238" y="586"/>
                    </a:lnTo>
                    <a:lnTo>
                      <a:pt x="240" y="583"/>
                    </a:lnTo>
                    <a:lnTo>
                      <a:pt x="245" y="578"/>
                    </a:lnTo>
                    <a:lnTo>
                      <a:pt x="245" y="576"/>
                    </a:lnTo>
                    <a:lnTo>
                      <a:pt x="244" y="573"/>
                    </a:lnTo>
                    <a:lnTo>
                      <a:pt x="246" y="563"/>
                    </a:lnTo>
                    <a:lnTo>
                      <a:pt x="242" y="556"/>
                    </a:lnTo>
                    <a:lnTo>
                      <a:pt x="244" y="550"/>
                    </a:lnTo>
                    <a:lnTo>
                      <a:pt x="245" y="557"/>
                    </a:lnTo>
                    <a:lnTo>
                      <a:pt x="251" y="561"/>
                    </a:lnTo>
                    <a:lnTo>
                      <a:pt x="253" y="560"/>
                    </a:lnTo>
                    <a:lnTo>
                      <a:pt x="257" y="554"/>
                    </a:lnTo>
                    <a:lnTo>
                      <a:pt x="261" y="557"/>
                    </a:lnTo>
                    <a:lnTo>
                      <a:pt x="262" y="552"/>
                    </a:lnTo>
                    <a:lnTo>
                      <a:pt x="264" y="548"/>
                    </a:lnTo>
                    <a:lnTo>
                      <a:pt x="257" y="544"/>
                    </a:lnTo>
                    <a:lnTo>
                      <a:pt x="262" y="545"/>
                    </a:lnTo>
                    <a:lnTo>
                      <a:pt x="268" y="541"/>
                    </a:lnTo>
                    <a:lnTo>
                      <a:pt x="268" y="538"/>
                    </a:lnTo>
                    <a:lnTo>
                      <a:pt x="273" y="535"/>
                    </a:lnTo>
                    <a:lnTo>
                      <a:pt x="273" y="529"/>
                    </a:lnTo>
                    <a:lnTo>
                      <a:pt x="278" y="527"/>
                    </a:lnTo>
                    <a:lnTo>
                      <a:pt x="278" y="520"/>
                    </a:lnTo>
                    <a:lnTo>
                      <a:pt x="282" y="519"/>
                    </a:lnTo>
                    <a:lnTo>
                      <a:pt x="289" y="520"/>
                    </a:lnTo>
                    <a:lnTo>
                      <a:pt x="296" y="513"/>
                    </a:lnTo>
                    <a:lnTo>
                      <a:pt x="300" y="507"/>
                    </a:lnTo>
                    <a:lnTo>
                      <a:pt x="308" y="499"/>
                    </a:lnTo>
                    <a:lnTo>
                      <a:pt x="313" y="503"/>
                    </a:lnTo>
                    <a:lnTo>
                      <a:pt x="320" y="498"/>
                    </a:lnTo>
                    <a:lnTo>
                      <a:pt x="321" y="492"/>
                    </a:lnTo>
                    <a:lnTo>
                      <a:pt x="327" y="488"/>
                    </a:lnTo>
                    <a:lnTo>
                      <a:pt x="332" y="489"/>
                    </a:lnTo>
                    <a:lnTo>
                      <a:pt x="335" y="487"/>
                    </a:lnTo>
                    <a:lnTo>
                      <a:pt x="342" y="481"/>
                    </a:lnTo>
                    <a:lnTo>
                      <a:pt x="347" y="476"/>
                    </a:lnTo>
                    <a:lnTo>
                      <a:pt x="351" y="474"/>
                    </a:lnTo>
                    <a:lnTo>
                      <a:pt x="355" y="463"/>
                    </a:lnTo>
                    <a:lnTo>
                      <a:pt x="358" y="457"/>
                    </a:lnTo>
                    <a:lnTo>
                      <a:pt x="365" y="449"/>
                    </a:lnTo>
                    <a:lnTo>
                      <a:pt x="369" y="440"/>
                    </a:lnTo>
                    <a:lnTo>
                      <a:pt x="374" y="431"/>
                    </a:lnTo>
                    <a:lnTo>
                      <a:pt x="376" y="428"/>
                    </a:lnTo>
                    <a:lnTo>
                      <a:pt x="377" y="431"/>
                    </a:lnTo>
                    <a:lnTo>
                      <a:pt x="376" y="438"/>
                    </a:lnTo>
                    <a:lnTo>
                      <a:pt x="383" y="429"/>
                    </a:lnTo>
                    <a:lnTo>
                      <a:pt x="384" y="427"/>
                    </a:lnTo>
                    <a:lnTo>
                      <a:pt x="380" y="422"/>
                    </a:lnTo>
                    <a:lnTo>
                      <a:pt x="380" y="419"/>
                    </a:lnTo>
                    <a:lnTo>
                      <a:pt x="370" y="409"/>
                    </a:lnTo>
                    <a:lnTo>
                      <a:pt x="369" y="405"/>
                    </a:lnTo>
                    <a:lnTo>
                      <a:pt x="371" y="404"/>
                    </a:lnTo>
                    <a:lnTo>
                      <a:pt x="370" y="399"/>
                    </a:lnTo>
                    <a:lnTo>
                      <a:pt x="366" y="395"/>
                    </a:lnTo>
                    <a:lnTo>
                      <a:pt x="366" y="393"/>
                    </a:lnTo>
                    <a:lnTo>
                      <a:pt x="370" y="389"/>
                    </a:lnTo>
                    <a:lnTo>
                      <a:pt x="371" y="385"/>
                    </a:lnTo>
                    <a:lnTo>
                      <a:pt x="376" y="383"/>
                    </a:lnTo>
                    <a:lnTo>
                      <a:pt x="383" y="366"/>
                    </a:lnTo>
                    <a:lnTo>
                      <a:pt x="384" y="362"/>
                    </a:lnTo>
                    <a:lnTo>
                      <a:pt x="377" y="350"/>
                    </a:lnTo>
                    <a:lnTo>
                      <a:pt x="377" y="349"/>
                    </a:lnTo>
                    <a:lnTo>
                      <a:pt x="385" y="345"/>
                    </a:lnTo>
                    <a:lnTo>
                      <a:pt x="385" y="339"/>
                    </a:lnTo>
                    <a:lnTo>
                      <a:pt x="388" y="338"/>
                    </a:lnTo>
                    <a:lnTo>
                      <a:pt x="394" y="341"/>
                    </a:lnTo>
                    <a:lnTo>
                      <a:pt x="396" y="340"/>
                    </a:lnTo>
                    <a:lnTo>
                      <a:pt x="397" y="336"/>
                    </a:lnTo>
                    <a:lnTo>
                      <a:pt x="395" y="332"/>
                    </a:lnTo>
                    <a:lnTo>
                      <a:pt x="400" y="331"/>
                    </a:lnTo>
                    <a:lnTo>
                      <a:pt x="402" y="328"/>
                    </a:lnTo>
                    <a:lnTo>
                      <a:pt x="395" y="318"/>
                    </a:lnTo>
                    <a:lnTo>
                      <a:pt x="395" y="315"/>
                    </a:lnTo>
                    <a:lnTo>
                      <a:pt x="403" y="320"/>
                    </a:lnTo>
                    <a:lnTo>
                      <a:pt x="405" y="326"/>
                    </a:lnTo>
                    <a:lnTo>
                      <a:pt x="408" y="326"/>
                    </a:lnTo>
                    <a:lnTo>
                      <a:pt x="407" y="315"/>
                    </a:lnTo>
                    <a:lnTo>
                      <a:pt x="408" y="316"/>
                    </a:lnTo>
                    <a:lnTo>
                      <a:pt x="410" y="315"/>
                    </a:lnTo>
                    <a:lnTo>
                      <a:pt x="411" y="302"/>
                    </a:lnTo>
                    <a:lnTo>
                      <a:pt x="414" y="301"/>
                    </a:lnTo>
                    <a:lnTo>
                      <a:pt x="417" y="301"/>
                    </a:lnTo>
                    <a:lnTo>
                      <a:pt x="417" y="304"/>
                    </a:lnTo>
                    <a:lnTo>
                      <a:pt x="419" y="307"/>
                    </a:lnTo>
                    <a:lnTo>
                      <a:pt x="422" y="309"/>
                    </a:lnTo>
                    <a:lnTo>
                      <a:pt x="425" y="300"/>
                    </a:lnTo>
                    <a:lnTo>
                      <a:pt x="429" y="303"/>
                    </a:lnTo>
                    <a:lnTo>
                      <a:pt x="432" y="309"/>
                    </a:lnTo>
                    <a:lnTo>
                      <a:pt x="436" y="309"/>
                    </a:lnTo>
                    <a:lnTo>
                      <a:pt x="439" y="313"/>
                    </a:lnTo>
                    <a:lnTo>
                      <a:pt x="442" y="305"/>
                    </a:lnTo>
                    <a:lnTo>
                      <a:pt x="460" y="304"/>
                    </a:lnTo>
                    <a:lnTo>
                      <a:pt x="465" y="307"/>
                    </a:lnTo>
                    <a:lnTo>
                      <a:pt x="470" y="313"/>
                    </a:lnTo>
                    <a:lnTo>
                      <a:pt x="472" y="307"/>
                    </a:lnTo>
                    <a:lnTo>
                      <a:pt x="475" y="305"/>
                    </a:lnTo>
                    <a:lnTo>
                      <a:pt x="473" y="297"/>
                    </a:lnTo>
                    <a:lnTo>
                      <a:pt x="463" y="274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grpSp>
            <p:nvGrpSpPr>
              <p:cNvPr id="93" name="France"/>
              <p:cNvGrpSpPr/>
              <p:nvPr/>
            </p:nvGrpSpPr>
            <p:grpSpPr>
              <a:xfrm>
                <a:off x="3788908" y="4512085"/>
                <a:ext cx="1173947" cy="1280606"/>
                <a:chOff x="3788908" y="4512085"/>
                <a:chExt cx="1173947" cy="1280606"/>
              </a:xfrm>
              <a:grpFill/>
            </p:grpSpPr>
            <p:sp>
              <p:nvSpPr>
                <p:cNvPr id="119" name="Freeform 1393"/>
                <p:cNvSpPr>
                  <a:spLocks/>
                </p:cNvSpPr>
                <p:nvPr/>
              </p:nvSpPr>
              <p:spPr bwMode="auto">
                <a:xfrm>
                  <a:off x="4884415" y="5608127"/>
                  <a:ext cx="78440" cy="184564"/>
                </a:xfrm>
                <a:custGeom>
                  <a:avLst/>
                  <a:gdLst>
                    <a:gd name="T0" fmla="*/ 30 w 34"/>
                    <a:gd name="T1" fmla="*/ 1 h 80"/>
                    <a:gd name="T2" fmla="*/ 26 w 34"/>
                    <a:gd name="T3" fmla="*/ 0 h 80"/>
                    <a:gd name="T4" fmla="*/ 25 w 34"/>
                    <a:gd name="T5" fmla="*/ 9 h 80"/>
                    <a:gd name="T6" fmla="*/ 24 w 34"/>
                    <a:gd name="T7" fmla="*/ 12 h 80"/>
                    <a:gd name="T8" fmla="*/ 18 w 34"/>
                    <a:gd name="T9" fmla="*/ 14 h 80"/>
                    <a:gd name="T10" fmla="*/ 11 w 34"/>
                    <a:gd name="T11" fmla="*/ 19 h 80"/>
                    <a:gd name="T12" fmla="*/ 7 w 34"/>
                    <a:gd name="T13" fmla="*/ 21 h 80"/>
                    <a:gd name="T14" fmla="*/ 3 w 34"/>
                    <a:gd name="T15" fmla="*/ 20 h 80"/>
                    <a:gd name="T16" fmla="*/ 0 w 34"/>
                    <a:gd name="T17" fmla="*/ 29 h 80"/>
                    <a:gd name="T18" fmla="*/ 0 w 34"/>
                    <a:gd name="T19" fmla="*/ 40 h 80"/>
                    <a:gd name="T20" fmla="*/ 3 w 34"/>
                    <a:gd name="T21" fmla="*/ 43 h 80"/>
                    <a:gd name="T22" fmla="*/ 3 w 34"/>
                    <a:gd name="T23" fmla="*/ 57 h 80"/>
                    <a:gd name="T24" fmla="*/ 4 w 34"/>
                    <a:gd name="T25" fmla="*/ 62 h 80"/>
                    <a:gd name="T26" fmla="*/ 9 w 34"/>
                    <a:gd name="T27" fmla="*/ 63 h 80"/>
                    <a:gd name="T28" fmla="*/ 9 w 34"/>
                    <a:gd name="T29" fmla="*/ 68 h 80"/>
                    <a:gd name="T30" fmla="*/ 11 w 34"/>
                    <a:gd name="T31" fmla="*/ 72 h 80"/>
                    <a:gd name="T32" fmla="*/ 15 w 34"/>
                    <a:gd name="T33" fmla="*/ 75 h 80"/>
                    <a:gd name="T34" fmla="*/ 19 w 34"/>
                    <a:gd name="T35" fmla="*/ 75 h 80"/>
                    <a:gd name="T36" fmla="*/ 22 w 34"/>
                    <a:gd name="T37" fmla="*/ 80 h 80"/>
                    <a:gd name="T38" fmla="*/ 22 w 34"/>
                    <a:gd name="T39" fmla="*/ 77 h 80"/>
                    <a:gd name="T40" fmla="*/ 26 w 34"/>
                    <a:gd name="T41" fmla="*/ 68 h 80"/>
                    <a:gd name="T42" fmla="*/ 30 w 34"/>
                    <a:gd name="T43" fmla="*/ 59 h 80"/>
                    <a:gd name="T44" fmla="*/ 31 w 34"/>
                    <a:gd name="T45" fmla="*/ 53 h 80"/>
                    <a:gd name="T46" fmla="*/ 33 w 34"/>
                    <a:gd name="T47" fmla="*/ 46 h 80"/>
                    <a:gd name="T48" fmla="*/ 34 w 34"/>
                    <a:gd name="T49" fmla="*/ 39 h 80"/>
                    <a:gd name="T50" fmla="*/ 31 w 34"/>
                    <a:gd name="T51" fmla="*/ 21 h 80"/>
                    <a:gd name="T52" fmla="*/ 30 w 34"/>
                    <a:gd name="T53" fmla="*/ 1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4" h="80">
                      <a:moveTo>
                        <a:pt x="30" y="1"/>
                      </a:moveTo>
                      <a:lnTo>
                        <a:pt x="26" y="0"/>
                      </a:lnTo>
                      <a:lnTo>
                        <a:pt x="25" y="9"/>
                      </a:lnTo>
                      <a:lnTo>
                        <a:pt x="24" y="12"/>
                      </a:lnTo>
                      <a:lnTo>
                        <a:pt x="18" y="14"/>
                      </a:lnTo>
                      <a:lnTo>
                        <a:pt x="11" y="19"/>
                      </a:lnTo>
                      <a:lnTo>
                        <a:pt x="7" y="21"/>
                      </a:lnTo>
                      <a:lnTo>
                        <a:pt x="3" y="20"/>
                      </a:lnTo>
                      <a:lnTo>
                        <a:pt x="0" y="29"/>
                      </a:lnTo>
                      <a:lnTo>
                        <a:pt x="0" y="40"/>
                      </a:lnTo>
                      <a:lnTo>
                        <a:pt x="3" y="43"/>
                      </a:lnTo>
                      <a:lnTo>
                        <a:pt x="3" y="57"/>
                      </a:lnTo>
                      <a:lnTo>
                        <a:pt x="4" y="62"/>
                      </a:lnTo>
                      <a:lnTo>
                        <a:pt x="9" y="63"/>
                      </a:lnTo>
                      <a:lnTo>
                        <a:pt x="9" y="68"/>
                      </a:lnTo>
                      <a:lnTo>
                        <a:pt x="11" y="72"/>
                      </a:lnTo>
                      <a:lnTo>
                        <a:pt x="15" y="75"/>
                      </a:lnTo>
                      <a:lnTo>
                        <a:pt x="19" y="75"/>
                      </a:lnTo>
                      <a:lnTo>
                        <a:pt x="22" y="80"/>
                      </a:lnTo>
                      <a:lnTo>
                        <a:pt x="22" y="77"/>
                      </a:lnTo>
                      <a:lnTo>
                        <a:pt x="26" y="68"/>
                      </a:lnTo>
                      <a:lnTo>
                        <a:pt x="30" y="59"/>
                      </a:lnTo>
                      <a:lnTo>
                        <a:pt x="31" y="53"/>
                      </a:lnTo>
                      <a:lnTo>
                        <a:pt x="33" y="46"/>
                      </a:lnTo>
                      <a:lnTo>
                        <a:pt x="34" y="39"/>
                      </a:lnTo>
                      <a:lnTo>
                        <a:pt x="31" y="21"/>
                      </a:lnTo>
                      <a:lnTo>
                        <a:pt x="30" y="1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  <p:sp>
              <p:nvSpPr>
                <p:cNvPr id="120" name="Freeform 1394"/>
                <p:cNvSpPr>
                  <a:spLocks/>
                </p:cNvSpPr>
                <p:nvPr/>
              </p:nvSpPr>
              <p:spPr bwMode="auto">
                <a:xfrm rot="120000">
                  <a:off x="3788908" y="4512085"/>
                  <a:ext cx="1169908" cy="1177521"/>
                </a:xfrm>
                <a:custGeom>
                  <a:avLst/>
                  <a:gdLst>
                    <a:gd name="T0" fmla="*/ 395 w 461"/>
                    <a:gd name="T1" fmla="*/ 87 h 464"/>
                    <a:gd name="T2" fmla="*/ 358 w 461"/>
                    <a:gd name="T3" fmla="*/ 80 h 464"/>
                    <a:gd name="T4" fmla="*/ 345 w 461"/>
                    <a:gd name="T5" fmla="*/ 55 h 464"/>
                    <a:gd name="T6" fmla="*/ 323 w 461"/>
                    <a:gd name="T7" fmla="*/ 51 h 464"/>
                    <a:gd name="T8" fmla="*/ 293 w 461"/>
                    <a:gd name="T9" fmla="*/ 32 h 464"/>
                    <a:gd name="T10" fmla="*/ 271 w 461"/>
                    <a:gd name="T11" fmla="*/ 0 h 464"/>
                    <a:gd name="T12" fmla="*/ 230 w 461"/>
                    <a:gd name="T13" fmla="*/ 44 h 464"/>
                    <a:gd name="T14" fmla="*/ 192 w 461"/>
                    <a:gd name="T15" fmla="*/ 72 h 464"/>
                    <a:gd name="T16" fmla="*/ 192 w 461"/>
                    <a:gd name="T17" fmla="*/ 92 h 464"/>
                    <a:gd name="T18" fmla="*/ 157 w 461"/>
                    <a:gd name="T19" fmla="*/ 102 h 464"/>
                    <a:gd name="T20" fmla="*/ 127 w 461"/>
                    <a:gd name="T21" fmla="*/ 82 h 464"/>
                    <a:gd name="T22" fmla="*/ 108 w 461"/>
                    <a:gd name="T23" fmla="*/ 98 h 464"/>
                    <a:gd name="T24" fmla="*/ 122 w 461"/>
                    <a:gd name="T25" fmla="*/ 137 h 464"/>
                    <a:gd name="T26" fmla="*/ 101 w 461"/>
                    <a:gd name="T27" fmla="*/ 137 h 464"/>
                    <a:gd name="T28" fmla="*/ 51 w 461"/>
                    <a:gd name="T29" fmla="*/ 129 h 464"/>
                    <a:gd name="T30" fmla="*/ 28 w 461"/>
                    <a:gd name="T31" fmla="*/ 137 h 464"/>
                    <a:gd name="T32" fmla="*/ 13 w 461"/>
                    <a:gd name="T33" fmla="*/ 153 h 464"/>
                    <a:gd name="T34" fmla="*/ 12 w 461"/>
                    <a:gd name="T35" fmla="*/ 164 h 464"/>
                    <a:gd name="T36" fmla="*/ 15 w 461"/>
                    <a:gd name="T37" fmla="*/ 177 h 464"/>
                    <a:gd name="T38" fmla="*/ 50 w 461"/>
                    <a:gd name="T39" fmla="*/ 188 h 464"/>
                    <a:gd name="T40" fmla="*/ 74 w 461"/>
                    <a:gd name="T41" fmla="*/ 197 h 464"/>
                    <a:gd name="T42" fmla="*/ 84 w 461"/>
                    <a:gd name="T43" fmla="*/ 211 h 464"/>
                    <a:gd name="T44" fmla="*/ 98 w 461"/>
                    <a:gd name="T45" fmla="*/ 221 h 464"/>
                    <a:gd name="T46" fmla="*/ 102 w 461"/>
                    <a:gd name="T47" fmla="*/ 241 h 464"/>
                    <a:gd name="T48" fmla="*/ 134 w 461"/>
                    <a:gd name="T49" fmla="*/ 265 h 464"/>
                    <a:gd name="T50" fmla="*/ 134 w 461"/>
                    <a:gd name="T51" fmla="*/ 298 h 464"/>
                    <a:gd name="T52" fmla="*/ 136 w 461"/>
                    <a:gd name="T53" fmla="*/ 304 h 464"/>
                    <a:gd name="T54" fmla="*/ 134 w 461"/>
                    <a:gd name="T55" fmla="*/ 344 h 464"/>
                    <a:gd name="T56" fmla="*/ 123 w 461"/>
                    <a:gd name="T57" fmla="*/ 402 h 464"/>
                    <a:gd name="T58" fmla="*/ 122 w 461"/>
                    <a:gd name="T59" fmla="*/ 428 h 464"/>
                    <a:gd name="T60" fmla="*/ 178 w 461"/>
                    <a:gd name="T61" fmla="*/ 449 h 464"/>
                    <a:gd name="T62" fmla="*/ 211 w 461"/>
                    <a:gd name="T63" fmla="*/ 446 h 464"/>
                    <a:gd name="T64" fmla="*/ 245 w 461"/>
                    <a:gd name="T65" fmla="*/ 464 h 464"/>
                    <a:gd name="T66" fmla="*/ 284 w 461"/>
                    <a:gd name="T67" fmla="*/ 442 h 464"/>
                    <a:gd name="T68" fmla="*/ 307 w 461"/>
                    <a:gd name="T69" fmla="*/ 413 h 464"/>
                    <a:gd name="T70" fmla="*/ 334 w 461"/>
                    <a:gd name="T71" fmla="*/ 409 h 464"/>
                    <a:gd name="T72" fmla="*/ 349 w 461"/>
                    <a:gd name="T73" fmla="*/ 413 h 464"/>
                    <a:gd name="T74" fmla="*/ 368 w 461"/>
                    <a:gd name="T75" fmla="*/ 419 h 464"/>
                    <a:gd name="T76" fmla="*/ 410 w 461"/>
                    <a:gd name="T77" fmla="*/ 420 h 464"/>
                    <a:gd name="T78" fmla="*/ 429 w 461"/>
                    <a:gd name="T79" fmla="*/ 401 h 464"/>
                    <a:gd name="T80" fmla="*/ 445 w 461"/>
                    <a:gd name="T81" fmla="*/ 383 h 464"/>
                    <a:gd name="T82" fmla="*/ 419 w 461"/>
                    <a:gd name="T83" fmla="*/ 357 h 464"/>
                    <a:gd name="T84" fmla="*/ 413 w 461"/>
                    <a:gd name="T85" fmla="*/ 334 h 464"/>
                    <a:gd name="T86" fmla="*/ 424 w 461"/>
                    <a:gd name="T87" fmla="*/ 310 h 464"/>
                    <a:gd name="T88" fmla="*/ 421 w 461"/>
                    <a:gd name="T89" fmla="*/ 278 h 464"/>
                    <a:gd name="T90" fmla="*/ 401 w 461"/>
                    <a:gd name="T91" fmla="*/ 257 h 464"/>
                    <a:gd name="T92" fmla="*/ 390 w 461"/>
                    <a:gd name="T93" fmla="*/ 246 h 464"/>
                    <a:gd name="T94" fmla="*/ 402 w 461"/>
                    <a:gd name="T95" fmla="*/ 229 h 464"/>
                    <a:gd name="T96" fmla="*/ 434 w 461"/>
                    <a:gd name="T97" fmla="*/ 199 h 464"/>
                    <a:gd name="T98" fmla="*/ 441 w 461"/>
                    <a:gd name="T99" fmla="*/ 166 h 464"/>
                    <a:gd name="T100" fmla="*/ 452 w 461"/>
                    <a:gd name="T101" fmla="*/ 115 h 4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1" h="464">
                      <a:moveTo>
                        <a:pt x="425" y="107"/>
                      </a:moveTo>
                      <a:lnTo>
                        <a:pt x="413" y="106"/>
                      </a:lnTo>
                      <a:lnTo>
                        <a:pt x="408" y="98"/>
                      </a:lnTo>
                      <a:lnTo>
                        <a:pt x="404" y="94"/>
                      </a:lnTo>
                      <a:lnTo>
                        <a:pt x="395" y="87"/>
                      </a:lnTo>
                      <a:lnTo>
                        <a:pt x="388" y="87"/>
                      </a:lnTo>
                      <a:lnTo>
                        <a:pt x="377" y="84"/>
                      </a:lnTo>
                      <a:lnTo>
                        <a:pt x="371" y="85"/>
                      </a:lnTo>
                      <a:lnTo>
                        <a:pt x="363" y="84"/>
                      </a:lnTo>
                      <a:lnTo>
                        <a:pt x="358" y="80"/>
                      </a:lnTo>
                      <a:lnTo>
                        <a:pt x="350" y="75"/>
                      </a:lnTo>
                      <a:lnTo>
                        <a:pt x="352" y="71"/>
                      </a:lnTo>
                      <a:lnTo>
                        <a:pt x="349" y="70"/>
                      </a:lnTo>
                      <a:lnTo>
                        <a:pt x="349" y="55"/>
                      </a:lnTo>
                      <a:lnTo>
                        <a:pt x="345" y="55"/>
                      </a:lnTo>
                      <a:lnTo>
                        <a:pt x="340" y="60"/>
                      </a:lnTo>
                      <a:lnTo>
                        <a:pt x="338" y="64"/>
                      </a:lnTo>
                      <a:lnTo>
                        <a:pt x="331" y="64"/>
                      </a:lnTo>
                      <a:lnTo>
                        <a:pt x="325" y="62"/>
                      </a:lnTo>
                      <a:lnTo>
                        <a:pt x="323" y="51"/>
                      </a:lnTo>
                      <a:lnTo>
                        <a:pt x="322" y="46"/>
                      </a:lnTo>
                      <a:lnTo>
                        <a:pt x="317" y="42"/>
                      </a:lnTo>
                      <a:lnTo>
                        <a:pt x="310" y="39"/>
                      </a:lnTo>
                      <a:lnTo>
                        <a:pt x="300" y="34"/>
                      </a:lnTo>
                      <a:lnTo>
                        <a:pt x="293" y="32"/>
                      </a:lnTo>
                      <a:lnTo>
                        <a:pt x="288" y="19"/>
                      </a:lnTo>
                      <a:lnTo>
                        <a:pt x="280" y="21"/>
                      </a:lnTo>
                      <a:lnTo>
                        <a:pt x="272" y="17"/>
                      </a:lnTo>
                      <a:lnTo>
                        <a:pt x="271" y="11"/>
                      </a:lnTo>
                      <a:lnTo>
                        <a:pt x="271" y="0"/>
                      </a:lnTo>
                      <a:lnTo>
                        <a:pt x="268" y="2"/>
                      </a:lnTo>
                      <a:lnTo>
                        <a:pt x="253" y="4"/>
                      </a:lnTo>
                      <a:lnTo>
                        <a:pt x="236" y="11"/>
                      </a:lnTo>
                      <a:lnTo>
                        <a:pt x="232" y="24"/>
                      </a:lnTo>
                      <a:lnTo>
                        <a:pt x="230" y="44"/>
                      </a:lnTo>
                      <a:lnTo>
                        <a:pt x="232" y="46"/>
                      </a:lnTo>
                      <a:lnTo>
                        <a:pt x="231" y="51"/>
                      </a:lnTo>
                      <a:lnTo>
                        <a:pt x="223" y="59"/>
                      </a:lnTo>
                      <a:lnTo>
                        <a:pt x="214" y="65"/>
                      </a:lnTo>
                      <a:lnTo>
                        <a:pt x="192" y="72"/>
                      </a:lnTo>
                      <a:lnTo>
                        <a:pt x="182" y="79"/>
                      </a:lnTo>
                      <a:lnTo>
                        <a:pt x="178" y="87"/>
                      </a:lnTo>
                      <a:lnTo>
                        <a:pt x="178" y="91"/>
                      </a:lnTo>
                      <a:lnTo>
                        <a:pt x="188" y="91"/>
                      </a:lnTo>
                      <a:lnTo>
                        <a:pt x="192" y="92"/>
                      </a:lnTo>
                      <a:lnTo>
                        <a:pt x="191" y="94"/>
                      </a:lnTo>
                      <a:lnTo>
                        <a:pt x="177" y="96"/>
                      </a:lnTo>
                      <a:lnTo>
                        <a:pt x="170" y="101"/>
                      </a:lnTo>
                      <a:lnTo>
                        <a:pt x="165" y="102"/>
                      </a:lnTo>
                      <a:lnTo>
                        <a:pt x="157" y="102"/>
                      </a:lnTo>
                      <a:lnTo>
                        <a:pt x="148" y="99"/>
                      </a:lnTo>
                      <a:lnTo>
                        <a:pt x="137" y="98"/>
                      </a:lnTo>
                      <a:lnTo>
                        <a:pt x="134" y="98"/>
                      </a:lnTo>
                      <a:lnTo>
                        <a:pt x="126" y="87"/>
                      </a:lnTo>
                      <a:lnTo>
                        <a:pt x="127" y="82"/>
                      </a:lnTo>
                      <a:lnTo>
                        <a:pt x="124" y="81"/>
                      </a:lnTo>
                      <a:lnTo>
                        <a:pt x="111" y="82"/>
                      </a:lnTo>
                      <a:lnTo>
                        <a:pt x="104" y="80"/>
                      </a:lnTo>
                      <a:lnTo>
                        <a:pt x="105" y="93"/>
                      </a:lnTo>
                      <a:lnTo>
                        <a:pt x="108" y="98"/>
                      </a:lnTo>
                      <a:lnTo>
                        <a:pt x="112" y="102"/>
                      </a:lnTo>
                      <a:lnTo>
                        <a:pt x="115" y="117"/>
                      </a:lnTo>
                      <a:lnTo>
                        <a:pt x="115" y="126"/>
                      </a:lnTo>
                      <a:lnTo>
                        <a:pt x="118" y="133"/>
                      </a:lnTo>
                      <a:lnTo>
                        <a:pt x="122" y="137"/>
                      </a:lnTo>
                      <a:lnTo>
                        <a:pt x="119" y="139"/>
                      </a:lnTo>
                      <a:lnTo>
                        <a:pt x="111" y="140"/>
                      </a:lnTo>
                      <a:lnTo>
                        <a:pt x="109" y="137"/>
                      </a:lnTo>
                      <a:lnTo>
                        <a:pt x="107" y="136"/>
                      </a:lnTo>
                      <a:lnTo>
                        <a:pt x="101" y="137"/>
                      </a:lnTo>
                      <a:lnTo>
                        <a:pt x="96" y="139"/>
                      </a:lnTo>
                      <a:lnTo>
                        <a:pt x="90" y="139"/>
                      </a:lnTo>
                      <a:lnTo>
                        <a:pt x="78" y="142"/>
                      </a:lnTo>
                      <a:lnTo>
                        <a:pt x="62" y="128"/>
                      </a:lnTo>
                      <a:lnTo>
                        <a:pt x="51" y="129"/>
                      </a:lnTo>
                      <a:lnTo>
                        <a:pt x="47" y="128"/>
                      </a:lnTo>
                      <a:lnTo>
                        <a:pt x="44" y="130"/>
                      </a:lnTo>
                      <a:lnTo>
                        <a:pt x="43" y="133"/>
                      </a:lnTo>
                      <a:lnTo>
                        <a:pt x="33" y="137"/>
                      </a:lnTo>
                      <a:lnTo>
                        <a:pt x="28" y="137"/>
                      </a:lnTo>
                      <a:lnTo>
                        <a:pt x="17" y="139"/>
                      </a:lnTo>
                      <a:lnTo>
                        <a:pt x="2" y="145"/>
                      </a:lnTo>
                      <a:lnTo>
                        <a:pt x="0" y="152"/>
                      </a:lnTo>
                      <a:lnTo>
                        <a:pt x="0" y="155"/>
                      </a:lnTo>
                      <a:lnTo>
                        <a:pt x="13" y="153"/>
                      </a:lnTo>
                      <a:lnTo>
                        <a:pt x="12" y="156"/>
                      </a:lnTo>
                      <a:lnTo>
                        <a:pt x="9" y="157"/>
                      </a:lnTo>
                      <a:lnTo>
                        <a:pt x="6" y="161"/>
                      </a:lnTo>
                      <a:lnTo>
                        <a:pt x="7" y="164"/>
                      </a:lnTo>
                      <a:lnTo>
                        <a:pt x="12" y="164"/>
                      </a:lnTo>
                      <a:lnTo>
                        <a:pt x="19" y="163"/>
                      </a:lnTo>
                      <a:lnTo>
                        <a:pt x="17" y="168"/>
                      </a:lnTo>
                      <a:lnTo>
                        <a:pt x="3" y="171"/>
                      </a:lnTo>
                      <a:lnTo>
                        <a:pt x="7" y="174"/>
                      </a:lnTo>
                      <a:lnTo>
                        <a:pt x="15" y="177"/>
                      </a:lnTo>
                      <a:lnTo>
                        <a:pt x="15" y="184"/>
                      </a:lnTo>
                      <a:lnTo>
                        <a:pt x="23" y="185"/>
                      </a:lnTo>
                      <a:lnTo>
                        <a:pt x="23" y="182"/>
                      </a:lnTo>
                      <a:lnTo>
                        <a:pt x="29" y="180"/>
                      </a:lnTo>
                      <a:lnTo>
                        <a:pt x="50" y="188"/>
                      </a:lnTo>
                      <a:lnTo>
                        <a:pt x="55" y="193"/>
                      </a:lnTo>
                      <a:lnTo>
                        <a:pt x="57" y="197"/>
                      </a:lnTo>
                      <a:lnTo>
                        <a:pt x="60" y="198"/>
                      </a:lnTo>
                      <a:lnTo>
                        <a:pt x="69" y="195"/>
                      </a:lnTo>
                      <a:lnTo>
                        <a:pt x="74" y="197"/>
                      </a:lnTo>
                      <a:lnTo>
                        <a:pt x="70" y="199"/>
                      </a:lnTo>
                      <a:lnTo>
                        <a:pt x="78" y="201"/>
                      </a:lnTo>
                      <a:lnTo>
                        <a:pt x="82" y="199"/>
                      </a:lnTo>
                      <a:lnTo>
                        <a:pt x="85" y="200"/>
                      </a:lnTo>
                      <a:lnTo>
                        <a:pt x="84" y="211"/>
                      </a:lnTo>
                      <a:lnTo>
                        <a:pt x="92" y="213"/>
                      </a:lnTo>
                      <a:lnTo>
                        <a:pt x="102" y="211"/>
                      </a:lnTo>
                      <a:lnTo>
                        <a:pt x="109" y="213"/>
                      </a:lnTo>
                      <a:lnTo>
                        <a:pt x="98" y="218"/>
                      </a:lnTo>
                      <a:lnTo>
                        <a:pt x="98" y="221"/>
                      </a:lnTo>
                      <a:lnTo>
                        <a:pt x="102" y="226"/>
                      </a:lnTo>
                      <a:lnTo>
                        <a:pt x="100" y="231"/>
                      </a:lnTo>
                      <a:lnTo>
                        <a:pt x="96" y="228"/>
                      </a:lnTo>
                      <a:lnTo>
                        <a:pt x="96" y="233"/>
                      </a:lnTo>
                      <a:lnTo>
                        <a:pt x="102" y="241"/>
                      </a:lnTo>
                      <a:lnTo>
                        <a:pt x="107" y="247"/>
                      </a:lnTo>
                      <a:lnTo>
                        <a:pt x="109" y="253"/>
                      </a:lnTo>
                      <a:lnTo>
                        <a:pt x="116" y="258"/>
                      </a:lnTo>
                      <a:lnTo>
                        <a:pt x="125" y="263"/>
                      </a:lnTo>
                      <a:lnTo>
                        <a:pt x="134" y="265"/>
                      </a:lnTo>
                      <a:lnTo>
                        <a:pt x="133" y="270"/>
                      </a:lnTo>
                      <a:lnTo>
                        <a:pt x="135" y="276"/>
                      </a:lnTo>
                      <a:lnTo>
                        <a:pt x="135" y="285"/>
                      </a:lnTo>
                      <a:lnTo>
                        <a:pt x="132" y="291"/>
                      </a:lnTo>
                      <a:lnTo>
                        <a:pt x="134" y="298"/>
                      </a:lnTo>
                      <a:lnTo>
                        <a:pt x="141" y="302"/>
                      </a:lnTo>
                      <a:lnTo>
                        <a:pt x="146" y="310"/>
                      </a:lnTo>
                      <a:lnTo>
                        <a:pt x="148" y="318"/>
                      </a:lnTo>
                      <a:lnTo>
                        <a:pt x="146" y="315"/>
                      </a:lnTo>
                      <a:lnTo>
                        <a:pt x="136" y="304"/>
                      </a:lnTo>
                      <a:lnTo>
                        <a:pt x="135" y="310"/>
                      </a:lnTo>
                      <a:lnTo>
                        <a:pt x="134" y="321"/>
                      </a:lnTo>
                      <a:lnTo>
                        <a:pt x="132" y="343"/>
                      </a:lnTo>
                      <a:lnTo>
                        <a:pt x="131" y="349"/>
                      </a:lnTo>
                      <a:lnTo>
                        <a:pt x="134" y="344"/>
                      </a:lnTo>
                      <a:lnTo>
                        <a:pt x="136" y="348"/>
                      </a:lnTo>
                      <a:lnTo>
                        <a:pt x="135" y="350"/>
                      </a:lnTo>
                      <a:lnTo>
                        <a:pt x="131" y="355"/>
                      </a:lnTo>
                      <a:lnTo>
                        <a:pt x="131" y="362"/>
                      </a:lnTo>
                      <a:lnTo>
                        <a:pt x="123" y="402"/>
                      </a:lnTo>
                      <a:lnTo>
                        <a:pt x="120" y="409"/>
                      </a:lnTo>
                      <a:lnTo>
                        <a:pt x="113" y="414"/>
                      </a:lnTo>
                      <a:lnTo>
                        <a:pt x="107" y="413"/>
                      </a:lnTo>
                      <a:lnTo>
                        <a:pt x="108" y="416"/>
                      </a:lnTo>
                      <a:lnTo>
                        <a:pt x="122" y="428"/>
                      </a:lnTo>
                      <a:lnTo>
                        <a:pt x="129" y="431"/>
                      </a:lnTo>
                      <a:lnTo>
                        <a:pt x="135" y="432"/>
                      </a:lnTo>
                      <a:lnTo>
                        <a:pt x="143" y="437"/>
                      </a:lnTo>
                      <a:lnTo>
                        <a:pt x="147" y="441"/>
                      </a:lnTo>
                      <a:lnTo>
                        <a:pt x="178" y="449"/>
                      </a:lnTo>
                      <a:lnTo>
                        <a:pt x="188" y="450"/>
                      </a:lnTo>
                      <a:lnTo>
                        <a:pt x="192" y="449"/>
                      </a:lnTo>
                      <a:lnTo>
                        <a:pt x="199" y="444"/>
                      </a:lnTo>
                      <a:lnTo>
                        <a:pt x="205" y="443"/>
                      </a:lnTo>
                      <a:lnTo>
                        <a:pt x="211" y="446"/>
                      </a:lnTo>
                      <a:lnTo>
                        <a:pt x="220" y="452"/>
                      </a:lnTo>
                      <a:lnTo>
                        <a:pt x="230" y="453"/>
                      </a:lnTo>
                      <a:lnTo>
                        <a:pt x="233" y="456"/>
                      </a:lnTo>
                      <a:lnTo>
                        <a:pt x="239" y="462"/>
                      </a:lnTo>
                      <a:lnTo>
                        <a:pt x="245" y="464"/>
                      </a:lnTo>
                      <a:lnTo>
                        <a:pt x="264" y="462"/>
                      </a:lnTo>
                      <a:lnTo>
                        <a:pt x="272" y="461"/>
                      </a:lnTo>
                      <a:lnTo>
                        <a:pt x="281" y="461"/>
                      </a:lnTo>
                      <a:lnTo>
                        <a:pt x="287" y="461"/>
                      </a:lnTo>
                      <a:lnTo>
                        <a:pt x="284" y="442"/>
                      </a:lnTo>
                      <a:lnTo>
                        <a:pt x="282" y="439"/>
                      </a:lnTo>
                      <a:lnTo>
                        <a:pt x="283" y="429"/>
                      </a:lnTo>
                      <a:lnTo>
                        <a:pt x="288" y="423"/>
                      </a:lnTo>
                      <a:lnTo>
                        <a:pt x="301" y="417"/>
                      </a:lnTo>
                      <a:lnTo>
                        <a:pt x="307" y="413"/>
                      </a:lnTo>
                      <a:lnTo>
                        <a:pt x="311" y="408"/>
                      </a:lnTo>
                      <a:lnTo>
                        <a:pt x="317" y="405"/>
                      </a:lnTo>
                      <a:lnTo>
                        <a:pt x="321" y="405"/>
                      </a:lnTo>
                      <a:lnTo>
                        <a:pt x="323" y="407"/>
                      </a:lnTo>
                      <a:lnTo>
                        <a:pt x="334" y="409"/>
                      </a:lnTo>
                      <a:lnTo>
                        <a:pt x="335" y="410"/>
                      </a:lnTo>
                      <a:lnTo>
                        <a:pt x="337" y="413"/>
                      </a:lnTo>
                      <a:lnTo>
                        <a:pt x="340" y="413"/>
                      </a:lnTo>
                      <a:lnTo>
                        <a:pt x="348" y="415"/>
                      </a:lnTo>
                      <a:lnTo>
                        <a:pt x="349" y="413"/>
                      </a:lnTo>
                      <a:lnTo>
                        <a:pt x="356" y="413"/>
                      </a:lnTo>
                      <a:lnTo>
                        <a:pt x="358" y="414"/>
                      </a:lnTo>
                      <a:lnTo>
                        <a:pt x="362" y="414"/>
                      </a:lnTo>
                      <a:lnTo>
                        <a:pt x="367" y="416"/>
                      </a:lnTo>
                      <a:lnTo>
                        <a:pt x="368" y="419"/>
                      </a:lnTo>
                      <a:lnTo>
                        <a:pt x="370" y="420"/>
                      </a:lnTo>
                      <a:lnTo>
                        <a:pt x="378" y="420"/>
                      </a:lnTo>
                      <a:lnTo>
                        <a:pt x="383" y="426"/>
                      </a:lnTo>
                      <a:lnTo>
                        <a:pt x="394" y="427"/>
                      </a:lnTo>
                      <a:lnTo>
                        <a:pt x="410" y="420"/>
                      </a:lnTo>
                      <a:lnTo>
                        <a:pt x="412" y="418"/>
                      </a:lnTo>
                      <a:lnTo>
                        <a:pt x="412" y="414"/>
                      </a:lnTo>
                      <a:lnTo>
                        <a:pt x="417" y="409"/>
                      </a:lnTo>
                      <a:lnTo>
                        <a:pt x="425" y="403"/>
                      </a:lnTo>
                      <a:lnTo>
                        <a:pt x="429" y="401"/>
                      </a:lnTo>
                      <a:lnTo>
                        <a:pt x="430" y="397"/>
                      </a:lnTo>
                      <a:lnTo>
                        <a:pt x="442" y="391"/>
                      </a:lnTo>
                      <a:lnTo>
                        <a:pt x="444" y="390"/>
                      </a:lnTo>
                      <a:lnTo>
                        <a:pt x="442" y="387"/>
                      </a:lnTo>
                      <a:lnTo>
                        <a:pt x="445" y="383"/>
                      </a:lnTo>
                      <a:lnTo>
                        <a:pt x="445" y="378"/>
                      </a:lnTo>
                      <a:lnTo>
                        <a:pt x="442" y="372"/>
                      </a:lnTo>
                      <a:lnTo>
                        <a:pt x="426" y="370"/>
                      </a:lnTo>
                      <a:lnTo>
                        <a:pt x="422" y="364"/>
                      </a:lnTo>
                      <a:lnTo>
                        <a:pt x="419" y="357"/>
                      </a:lnTo>
                      <a:lnTo>
                        <a:pt x="419" y="350"/>
                      </a:lnTo>
                      <a:lnTo>
                        <a:pt x="421" y="344"/>
                      </a:lnTo>
                      <a:lnTo>
                        <a:pt x="421" y="338"/>
                      </a:lnTo>
                      <a:lnTo>
                        <a:pt x="415" y="336"/>
                      </a:lnTo>
                      <a:lnTo>
                        <a:pt x="413" y="334"/>
                      </a:lnTo>
                      <a:lnTo>
                        <a:pt x="413" y="331"/>
                      </a:lnTo>
                      <a:lnTo>
                        <a:pt x="414" y="325"/>
                      </a:lnTo>
                      <a:lnTo>
                        <a:pt x="417" y="321"/>
                      </a:lnTo>
                      <a:lnTo>
                        <a:pt x="425" y="315"/>
                      </a:lnTo>
                      <a:lnTo>
                        <a:pt x="424" y="310"/>
                      </a:lnTo>
                      <a:lnTo>
                        <a:pt x="416" y="292"/>
                      </a:lnTo>
                      <a:lnTo>
                        <a:pt x="415" y="289"/>
                      </a:lnTo>
                      <a:lnTo>
                        <a:pt x="416" y="286"/>
                      </a:lnTo>
                      <a:lnTo>
                        <a:pt x="423" y="285"/>
                      </a:lnTo>
                      <a:lnTo>
                        <a:pt x="421" y="278"/>
                      </a:lnTo>
                      <a:lnTo>
                        <a:pt x="416" y="277"/>
                      </a:lnTo>
                      <a:lnTo>
                        <a:pt x="414" y="269"/>
                      </a:lnTo>
                      <a:lnTo>
                        <a:pt x="414" y="258"/>
                      </a:lnTo>
                      <a:lnTo>
                        <a:pt x="412" y="257"/>
                      </a:lnTo>
                      <a:lnTo>
                        <a:pt x="401" y="257"/>
                      </a:lnTo>
                      <a:lnTo>
                        <a:pt x="393" y="268"/>
                      </a:lnTo>
                      <a:lnTo>
                        <a:pt x="389" y="271"/>
                      </a:lnTo>
                      <a:lnTo>
                        <a:pt x="387" y="269"/>
                      </a:lnTo>
                      <a:lnTo>
                        <a:pt x="388" y="255"/>
                      </a:lnTo>
                      <a:lnTo>
                        <a:pt x="390" y="246"/>
                      </a:lnTo>
                      <a:lnTo>
                        <a:pt x="392" y="244"/>
                      </a:lnTo>
                      <a:lnTo>
                        <a:pt x="395" y="240"/>
                      </a:lnTo>
                      <a:lnTo>
                        <a:pt x="400" y="237"/>
                      </a:lnTo>
                      <a:lnTo>
                        <a:pt x="401" y="235"/>
                      </a:lnTo>
                      <a:lnTo>
                        <a:pt x="402" y="229"/>
                      </a:lnTo>
                      <a:lnTo>
                        <a:pt x="406" y="222"/>
                      </a:lnTo>
                      <a:lnTo>
                        <a:pt x="422" y="206"/>
                      </a:lnTo>
                      <a:lnTo>
                        <a:pt x="419" y="202"/>
                      </a:lnTo>
                      <a:lnTo>
                        <a:pt x="422" y="198"/>
                      </a:lnTo>
                      <a:lnTo>
                        <a:pt x="434" y="199"/>
                      </a:lnTo>
                      <a:lnTo>
                        <a:pt x="438" y="197"/>
                      </a:lnTo>
                      <a:lnTo>
                        <a:pt x="442" y="193"/>
                      </a:lnTo>
                      <a:lnTo>
                        <a:pt x="441" y="190"/>
                      </a:lnTo>
                      <a:lnTo>
                        <a:pt x="440" y="185"/>
                      </a:lnTo>
                      <a:lnTo>
                        <a:pt x="441" y="166"/>
                      </a:lnTo>
                      <a:lnTo>
                        <a:pt x="446" y="150"/>
                      </a:lnTo>
                      <a:lnTo>
                        <a:pt x="448" y="142"/>
                      </a:lnTo>
                      <a:lnTo>
                        <a:pt x="459" y="127"/>
                      </a:lnTo>
                      <a:lnTo>
                        <a:pt x="461" y="119"/>
                      </a:lnTo>
                      <a:lnTo>
                        <a:pt x="452" y="115"/>
                      </a:lnTo>
                      <a:lnTo>
                        <a:pt x="425" y="107"/>
                      </a:lnTo>
                      <a:close/>
                    </a:path>
                  </a:pathLst>
                </a:custGeom>
                <a:grpFill/>
                <a:ln w="6350" cap="flat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fr-FR" sz="2000" dirty="0"/>
                </a:p>
              </p:txBody>
            </p:sp>
          </p:grpSp>
          <p:sp>
            <p:nvSpPr>
              <p:cNvPr id="94" name="Portugal"/>
              <p:cNvSpPr>
                <a:spLocks/>
              </p:cNvSpPr>
              <p:nvPr/>
            </p:nvSpPr>
            <p:spPr bwMode="auto">
              <a:xfrm>
                <a:off x="3198584" y="5516246"/>
                <a:ext cx="390977" cy="684941"/>
              </a:xfrm>
              <a:custGeom>
                <a:avLst/>
                <a:gdLst>
                  <a:gd name="T0" fmla="*/ 110 w 234"/>
                  <a:gd name="T1" fmla="*/ 327 h 381"/>
                  <a:gd name="T2" fmla="*/ 138 w 234"/>
                  <a:gd name="T3" fmla="*/ 304 h 381"/>
                  <a:gd name="T4" fmla="*/ 125 w 234"/>
                  <a:gd name="T5" fmla="*/ 294 h 381"/>
                  <a:gd name="T6" fmla="*/ 117 w 234"/>
                  <a:gd name="T7" fmla="*/ 282 h 381"/>
                  <a:gd name="T8" fmla="*/ 128 w 234"/>
                  <a:gd name="T9" fmla="*/ 262 h 381"/>
                  <a:gd name="T10" fmla="*/ 136 w 234"/>
                  <a:gd name="T11" fmla="*/ 229 h 381"/>
                  <a:gd name="T12" fmla="*/ 127 w 234"/>
                  <a:gd name="T13" fmla="*/ 190 h 381"/>
                  <a:gd name="T14" fmla="*/ 143 w 234"/>
                  <a:gd name="T15" fmla="*/ 194 h 381"/>
                  <a:gd name="T16" fmla="*/ 164 w 234"/>
                  <a:gd name="T17" fmla="*/ 163 h 381"/>
                  <a:gd name="T18" fmla="*/ 178 w 234"/>
                  <a:gd name="T19" fmla="*/ 142 h 381"/>
                  <a:gd name="T20" fmla="*/ 183 w 234"/>
                  <a:gd name="T21" fmla="*/ 127 h 381"/>
                  <a:gd name="T22" fmla="*/ 182 w 234"/>
                  <a:gd name="T23" fmla="*/ 100 h 381"/>
                  <a:gd name="T24" fmla="*/ 202 w 234"/>
                  <a:gd name="T25" fmla="*/ 88 h 381"/>
                  <a:gd name="T26" fmla="*/ 215 w 234"/>
                  <a:gd name="T27" fmla="*/ 60 h 381"/>
                  <a:gd name="T28" fmla="*/ 189 w 234"/>
                  <a:gd name="T29" fmla="*/ 31 h 381"/>
                  <a:gd name="T30" fmla="*/ 182 w 234"/>
                  <a:gd name="T31" fmla="*/ 33 h 381"/>
                  <a:gd name="T32" fmla="*/ 157 w 234"/>
                  <a:gd name="T33" fmla="*/ 32 h 381"/>
                  <a:gd name="T34" fmla="*/ 153 w 234"/>
                  <a:gd name="T35" fmla="*/ 26 h 381"/>
                  <a:gd name="T36" fmla="*/ 143 w 234"/>
                  <a:gd name="T37" fmla="*/ 23 h 381"/>
                  <a:gd name="T38" fmla="*/ 129 w 234"/>
                  <a:gd name="T39" fmla="*/ 26 h 381"/>
                  <a:gd name="T40" fmla="*/ 130 w 234"/>
                  <a:gd name="T41" fmla="*/ 6 h 381"/>
                  <a:gd name="T42" fmla="*/ 99 w 234"/>
                  <a:gd name="T43" fmla="*/ 8 h 381"/>
                  <a:gd name="T44" fmla="*/ 97 w 234"/>
                  <a:gd name="T45" fmla="*/ 27 h 381"/>
                  <a:gd name="T46" fmla="*/ 87 w 234"/>
                  <a:gd name="T47" fmla="*/ 64 h 381"/>
                  <a:gd name="T48" fmla="*/ 82 w 234"/>
                  <a:gd name="T49" fmla="*/ 92 h 381"/>
                  <a:gd name="T50" fmla="*/ 84 w 234"/>
                  <a:gd name="T51" fmla="*/ 91 h 381"/>
                  <a:gd name="T52" fmla="*/ 74 w 234"/>
                  <a:gd name="T53" fmla="*/ 105 h 381"/>
                  <a:gd name="T54" fmla="*/ 59 w 234"/>
                  <a:gd name="T55" fmla="*/ 134 h 381"/>
                  <a:gd name="T56" fmla="*/ 61 w 234"/>
                  <a:gd name="T57" fmla="*/ 139 h 381"/>
                  <a:gd name="T58" fmla="*/ 36 w 234"/>
                  <a:gd name="T59" fmla="*/ 177 h 381"/>
                  <a:gd name="T60" fmla="*/ 30 w 234"/>
                  <a:gd name="T61" fmla="*/ 185 h 381"/>
                  <a:gd name="T62" fmla="*/ 18 w 234"/>
                  <a:gd name="T63" fmla="*/ 196 h 381"/>
                  <a:gd name="T64" fmla="*/ 8 w 234"/>
                  <a:gd name="T65" fmla="*/ 242 h 381"/>
                  <a:gd name="T66" fmla="*/ 25 w 234"/>
                  <a:gd name="T67" fmla="*/ 256 h 381"/>
                  <a:gd name="T68" fmla="*/ 37 w 234"/>
                  <a:gd name="T69" fmla="*/ 258 h 381"/>
                  <a:gd name="T70" fmla="*/ 40 w 234"/>
                  <a:gd name="T71" fmla="*/ 262 h 381"/>
                  <a:gd name="T72" fmla="*/ 28 w 234"/>
                  <a:gd name="T73" fmla="*/ 256 h 381"/>
                  <a:gd name="T74" fmla="*/ 33 w 234"/>
                  <a:gd name="T75" fmla="*/ 275 h 381"/>
                  <a:gd name="T76" fmla="*/ 26 w 234"/>
                  <a:gd name="T77" fmla="*/ 301 h 381"/>
                  <a:gd name="T78" fmla="*/ 28 w 234"/>
                  <a:gd name="T79" fmla="*/ 313 h 381"/>
                  <a:gd name="T80" fmla="*/ 18 w 234"/>
                  <a:gd name="T81" fmla="*/ 333 h 381"/>
                  <a:gd name="T82" fmla="*/ 10 w 234"/>
                  <a:gd name="T83" fmla="*/ 361 h 381"/>
                  <a:gd name="T84" fmla="*/ 26 w 234"/>
                  <a:gd name="T85" fmla="*/ 359 h 381"/>
                  <a:gd name="T86" fmla="*/ 88 w 234"/>
                  <a:gd name="T87" fmla="*/ 371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4" h="381">
                    <a:moveTo>
                      <a:pt x="96" y="371"/>
                    </a:moveTo>
                    <a:cubicBezTo>
                      <a:pt x="97" y="348"/>
                      <a:pt x="91" y="344"/>
                      <a:pt x="110" y="327"/>
                    </a:cubicBezTo>
                    <a:cubicBezTo>
                      <a:pt x="113" y="324"/>
                      <a:pt x="113" y="318"/>
                      <a:pt x="116" y="316"/>
                    </a:cubicBezTo>
                    <a:cubicBezTo>
                      <a:pt x="117" y="316"/>
                      <a:pt x="145" y="315"/>
                      <a:pt x="138" y="304"/>
                    </a:cubicBezTo>
                    <a:cubicBezTo>
                      <a:pt x="137" y="301"/>
                      <a:pt x="131" y="306"/>
                      <a:pt x="128" y="304"/>
                    </a:cubicBezTo>
                    <a:cubicBezTo>
                      <a:pt x="125" y="302"/>
                      <a:pt x="126" y="297"/>
                      <a:pt x="125" y="294"/>
                    </a:cubicBezTo>
                    <a:cubicBezTo>
                      <a:pt x="124" y="290"/>
                      <a:pt x="124" y="286"/>
                      <a:pt x="121" y="284"/>
                    </a:cubicBezTo>
                    <a:cubicBezTo>
                      <a:pt x="121" y="282"/>
                      <a:pt x="117" y="284"/>
                      <a:pt x="117" y="282"/>
                    </a:cubicBezTo>
                    <a:cubicBezTo>
                      <a:pt x="119" y="279"/>
                      <a:pt x="123" y="276"/>
                      <a:pt x="125" y="272"/>
                    </a:cubicBezTo>
                    <a:cubicBezTo>
                      <a:pt x="128" y="265"/>
                      <a:pt x="118" y="270"/>
                      <a:pt x="128" y="262"/>
                    </a:cubicBezTo>
                    <a:cubicBezTo>
                      <a:pt x="137" y="255"/>
                      <a:pt x="148" y="256"/>
                      <a:pt x="149" y="242"/>
                    </a:cubicBezTo>
                    <a:cubicBezTo>
                      <a:pt x="149" y="241"/>
                      <a:pt x="138" y="233"/>
                      <a:pt x="136" y="229"/>
                    </a:cubicBezTo>
                    <a:cubicBezTo>
                      <a:pt x="133" y="221"/>
                      <a:pt x="137" y="210"/>
                      <a:pt x="137" y="208"/>
                    </a:cubicBezTo>
                    <a:cubicBezTo>
                      <a:pt x="136" y="208"/>
                      <a:pt x="127" y="190"/>
                      <a:pt x="127" y="190"/>
                    </a:cubicBezTo>
                    <a:cubicBezTo>
                      <a:pt x="126" y="189"/>
                      <a:pt x="129" y="190"/>
                      <a:pt x="130" y="190"/>
                    </a:cubicBezTo>
                    <a:cubicBezTo>
                      <a:pt x="135" y="192"/>
                      <a:pt x="138" y="193"/>
                      <a:pt x="143" y="194"/>
                    </a:cubicBezTo>
                    <a:cubicBezTo>
                      <a:pt x="156" y="197"/>
                      <a:pt x="159" y="198"/>
                      <a:pt x="166" y="185"/>
                    </a:cubicBezTo>
                    <a:cubicBezTo>
                      <a:pt x="174" y="169"/>
                      <a:pt x="165" y="175"/>
                      <a:pt x="164" y="163"/>
                    </a:cubicBezTo>
                    <a:cubicBezTo>
                      <a:pt x="162" y="152"/>
                      <a:pt x="180" y="157"/>
                      <a:pt x="180" y="150"/>
                    </a:cubicBezTo>
                    <a:cubicBezTo>
                      <a:pt x="181" y="144"/>
                      <a:pt x="174" y="149"/>
                      <a:pt x="178" y="142"/>
                    </a:cubicBezTo>
                    <a:cubicBezTo>
                      <a:pt x="178" y="141"/>
                      <a:pt x="181" y="141"/>
                      <a:pt x="181" y="139"/>
                    </a:cubicBezTo>
                    <a:cubicBezTo>
                      <a:pt x="183" y="135"/>
                      <a:pt x="183" y="131"/>
                      <a:pt x="183" y="127"/>
                    </a:cubicBezTo>
                    <a:cubicBezTo>
                      <a:pt x="184" y="123"/>
                      <a:pt x="187" y="118"/>
                      <a:pt x="187" y="114"/>
                    </a:cubicBezTo>
                    <a:cubicBezTo>
                      <a:pt x="182" y="100"/>
                      <a:pt x="182" y="100"/>
                      <a:pt x="182" y="100"/>
                    </a:cubicBezTo>
                    <a:cubicBezTo>
                      <a:pt x="183" y="99"/>
                      <a:pt x="187" y="102"/>
                      <a:pt x="190" y="101"/>
                    </a:cubicBezTo>
                    <a:cubicBezTo>
                      <a:pt x="202" y="88"/>
                      <a:pt x="202" y="88"/>
                      <a:pt x="202" y="88"/>
                    </a:cubicBezTo>
                    <a:cubicBezTo>
                      <a:pt x="210" y="84"/>
                      <a:pt x="226" y="83"/>
                      <a:pt x="230" y="71"/>
                    </a:cubicBezTo>
                    <a:cubicBezTo>
                      <a:pt x="234" y="60"/>
                      <a:pt x="219" y="61"/>
                      <a:pt x="215" y="60"/>
                    </a:cubicBezTo>
                    <a:cubicBezTo>
                      <a:pt x="212" y="60"/>
                      <a:pt x="217" y="38"/>
                      <a:pt x="215" y="37"/>
                    </a:cubicBezTo>
                    <a:cubicBezTo>
                      <a:pt x="204" y="31"/>
                      <a:pt x="202" y="36"/>
                      <a:pt x="189" y="31"/>
                    </a:cubicBezTo>
                    <a:cubicBezTo>
                      <a:pt x="187" y="30"/>
                      <a:pt x="187" y="24"/>
                      <a:pt x="182" y="28"/>
                    </a:cubicBezTo>
                    <a:cubicBezTo>
                      <a:pt x="181" y="29"/>
                      <a:pt x="183" y="32"/>
                      <a:pt x="182" y="33"/>
                    </a:cubicBezTo>
                    <a:cubicBezTo>
                      <a:pt x="174" y="40"/>
                      <a:pt x="166" y="32"/>
                      <a:pt x="164" y="31"/>
                    </a:cubicBezTo>
                    <a:cubicBezTo>
                      <a:pt x="161" y="30"/>
                      <a:pt x="159" y="33"/>
                      <a:pt x="157" y="32"/>
                    </a:cubicBezTo>
                    <a:cubicBezTo>
                      <a:pt x="156" y="31"/>
                      <a:pt x="160" y="30"/>
                      <a:pt x="159" y="29"/>
                    </a:cubicBezTo>
                    <a:cubicBezTo>
                      <a:pt x="159" y="27"/>
                      <a:pt x="156" y="26"/>
                      <a:pt x="153" y="26"/>
                    </a:cubicBezTo>
                    <a:cubicBezTo>
                      <a:pt x="150" y="26"/>
                      <a:pt x="146" y="27"/>
                      <a:pt x="143" y="26"/>
                    </a:cubicBezTo>
                    <a:cubicBezTo>
                      <a:pt x="142" y="26"/>
                      <a:pt x="143" y="24"/>
                      <a:pt x="143" y="23"/>
                    </a:cubicBezTo>
                    <a:cubicBezTo>
                      <a:pt x="143" y="23"/>
                      <a:pt x="144" y="21"/>
                      <a:pt x="143" y="21"/>
                    </a:cubicBezTo>
                    <a:cubicBezTo>
                      <a:pt x="140" y="22"/>
                      <a:pt x="134" y="30"/>
                      <a:pt x="129" y="26"/>
                    </a:cubicBezTo>
                    <a:cubicBezTo>
                      <a:pt x="115" y="17"/>
                      <a:pt x="142" y="14"/>
                      <a:pt x="135" y="8"/>
                    </a:cubicBezTo>
                    <a:cubicBezTo>
                      <a:pt x="134" y="6"/>
                      <a:pt x="131" y="8"/>
                      <a:pt x="130" y="6"/>
                    </a:cubicBezTo>
                    <a:cubicBezTo>
                      <a:pt x="130" y="5"/>
                      <a:pt x="133" y="3"/>
                      <a:pt x="131" y="2"/>
                    </a:cubicBezTo>
                    <a:cubicBezTo>
                      <a:pt x="121" y="0"/>
                      <a:pt x="107" y="4"/>
                      <a:pt x="99" y="8"/>
                    </a:cubicBezTo>
                    <a:cubicBezTo>
                      <a:pt x="97" y="14"/>
                      <a:pt x="83" y="17"/>
                      <a:pt x="87" y="22"/>
                    </a:cubicBezTo>
                    <a:cubicBezTo>
                      <a:pt x="89" y="24"/>
                      <a:pt x="96" y="23"/>
                      <a:pt x="97" y="27"/>
                    </a:cubicBezTo>
                    <a:cubicBezTo>
                      <a:pt x="98" y="30"/>
                      <a:pt x="91" y="26"/>
                      <a:pt x="89" y="28"/>
                    </a:cubicBezTo>
                    <a:cubicBezTo>
                      <a:pt x="86" y="34"/>
                      <a:pt x="86" y="58"/>
                      <a:pt x="87" y="64"/>
                    </a:cubicBezTo>
                    <a:cubicBezTo>
                      <a:pt x="87" y="66"/>
                      <a:pt x="90" y="66"/>
                      <a:pt x="90" y="69"/>
                    </a:cubicBezTo>
                    <a:cubicBezTo>
                      <a:pt x="90" y="78"/>
                      <a:pt x="86" y="84"/>
                      <a:pt x="82" y="92"/>
                    </a:cubicBezTo>
                    <a:cubicBezTo>
                      <a:pt x="80" y="95"/>
                      <a:pt x="73" y="103"/>
                      <a:pt x="77" y="102"/>
                    </a:cubicBezTo>
                    <a:cubicBezTo>
                      <a:pt x="81" y="101"/>
                      <a:pt x="81" y="92"/>
                      <a:pt x="84" y="91"/>
                    </a:cubicBezTo>
                    <a:cubicBezTo>
                      <a:pt x="87" y="91"/>
                      <a:pt x="89" y="96"/>
                      <a:pt x="88" y="99"/>
                    </a:cubicBezTo>
                    <a:cubicBezTo>
                      <a:pt x="85" y="103"/>
                      <a:pt x="77" y="101"/>
                      <a:pt x="74" y="105"/>
                    </a:cubicBezTo>
                    <a:cubicBezTo>
                      <a:pt x="70" y="112"/>
                      <a:pt x="68" y="120"/>
                      <a:pt x="64" y="127"/>
                    </a:cubicBezTo>
                    <a:cubicBezTo>
                      <a:pt x="62" y="130"/>
                      <a:pt x="58" y="131"/>
                      <a:pt x="59" y="134"/>
                    </a:cubicBezTo>
                    <a:cubicBezTo>
                      <a:pt x="59" y="137"/>
                      <a:pt x="64" y="138"/>
                      <a:pt x="65" y="141"/>
                    </a:cubicBezTo>
                    <a:cubicBezTo>
                      <a:pt x="66" y="142"/>
                      <a:pt x="62" y="138"/>
                      <a:pt x="61" y="139"/>
                    </a:cubicBezTo>
                    <a:cubicBezTo>
                      <a:pt x="58" y="140"/>
                      <a:pt x="57" y="145"/>
                      <a:pt x="54" y="148"/>
                    </a:cubicBezTo>
                    <a:cubicBezTo>
                      <a:pt x="49" y="157"/>
                      <a:pt x="43" y="169"/>
                      <a:pt x="36" y="177"/>
                    </a:cubicBezTo>
                    <a:cubicBezTo>
                      <a:pt x="34" y="179"/>
                      <a:pt x="31" y="180"/>
                      <a:pt x="28" y="182"/>
                    </a:cubicBezTo>
                    <a:cubicBezTo>
                      <a:pt x="28" y="183"/>
                      <a:pt x="31" y="185"/>
                      <a:pt x="30" y="185"/>
                    </a:cubicBezTo>
                    <a:cubicBezTo>
                      <a:pt x="26" y="186"/>
                      <a:pt x="20" y="182"/>
                      <a:pt x="17" y="185"/>
                    </a:cubicBezTo>
                    <a:cubicBezTo>
                      <a:pt x="14" y="188"/>
                      <a:pt x="19" y="193"/>
                      <a:pt x="18" y="196"/>
                    </a:cubicBezTo>
                    <a:cubicBezTo>
                      <a:pt x="17" y="202"/>
                      <a:pt x="0" y="225"/>
                      <a:pt x="1" y="231"/>
                    </a:cubicBezTo>
                    <a:cubicBezTo>
                      <a:pt x="2" y="235"/>
                      <a:pt x="5" y="238"/>
                      <a:pt x="8" y="242"/>
                    </a:cubicBezTo>
                    <a:cubicBezTo>
                      <a:pt x="13" y="252"/>
                      <a:pt x="11" y="256"/>
                      <a:pt x="11" y="256"/>
                    </a:cubicBezTo>
                    <a:cubicBezTo>
                      <a:pt x="15" y="258"/>
                      <a:pt x="21" y="257"/>
                      <a:pt x="25" y="256"/>
                    </a:cubicBezTo>
                    <a:cubicBezTo>
                      <a:pt x="27" y="256"/>
                      <a:pt x="28" y="254"/>
                      <a:pt x="31" y="254"/>
                    </a:cubicBezTo>
                    <a:cubicBezTo>
                      <a:pt x="33" y="254"/>
                      <a:pt x="34" y="258"/>
                      <a:pt x="37" y="258"/>
                    </a:cubicBezTo>
                    <a:cubicBezTo>
                      <a:pt x="39" y="259"/>
                      <a:pt x="39" y="251"/>
                      <a:pt x="40" y="253"/>
                    </a:cubicBezTo>
                    <a:cubicBezTo>
                      <a:pt x="41" y="255"/>
                      <a:pt x="39" y="259"/>
                      <a:pt x="40" y="262"/>
                    </a:cubicBezTo>
                    <a:cubicBezTo>
                      <a:pt x="41" y="264"/>
                      <a:pt x="49" y="265"/>
                      <a:pt x="47" y="266"/>
                    </a:cubicBezTo>
                    <a:cubicBezTo>
                      <a:pt x="32" y="273"/>
                      <a:pt x="41" y="254"/>
                      <a:pt x="28" y="256"/>
                    </a:cubicBezTo>
                    <a:cubicBezTo>
                      <a:pt x="25" y="256"/>
                      <a:pt x="32" y="261"/>
                      <a:pt x="34" y="264"/>
                    </a:cubicBezTo>
                    <a:cubicBezTo>
                      <a:pt x="34" y="267"/>
                      <a:pt x="34" y="271"/>
                      <a:pt x="33" y="275"/>
                    </a:cubicBezTo>
                    <a:cubicBezTo>
                      <a:pt x="32" y="282"/>
                      <a:pt x="22" y="289"/>
                      <a:pt x="22" y="295"/>
                    </a:cubicBezTo>
                    <a:cubicBezTo>
                      <a:pt x="22" y="297"/>
                      <a:pt x="26" y="299"/>
                      <a:pt x="26" y="301"/>
                    </a:cubicBezTo>
                    <a:cubicBezTo>
                      <a:pt x="26" y="305"/>
                      <a:pt x="20" y="312"/>
                      <a:pt x="24" y="314"/>
                    </a:cubicBezTo>
                    <a:cubicBezTo>
                      <a:pt x="25" y="314"/>
                      <a:pt x="29" y="312"/>
                      <a:pt x="28" y="313"/>
                    </a:cubicBezTo>
                    <a:cubicBezTo>
                      <a:pt x="27" y="315"/>
                      <a:pt x="23" y="314"/>
                      <a:pt x="22" y="315"/>
                    </a:cubicBezTo>
                    <a:cubicBezTo>
                      <a:pt x="19" y="321"/>
                      <a:pt x="21" y="328"/>
                      <a:pt x="18" y="333"/>
                    </a:cubicBezTo>
                    <a:cubicBezTo>
                      <a:pt x="16" y="338"/>
                      <a:pt x="2" y="357"/>
                      <a:pt x="4" y="363"/>
                    </a:cubicBezTo>
                    <a:cubicBezTo>
                      <a:pt x="4" y="365"/>
                      <a:pt x="8" y="361"/>
                      <a:pt x="10" y="361"/>
                    </a:cubicBezTo>
                    <a:cubicBezTo>
                      <a:pt x="14" y="360"/>
                      <a:pt x="17" y="361"/>
                      <a:pt x="21" y="361"/>
                    </a:cubicBezTo>
                    <a:cubicBezTo>
                      <a:pt x="22" y="361"/>
                      <a:pt x="24" y="359"/>
                      <a:pt x="26" y="359"/>
                    </a:cubicBezTo>
                    <a:cubicBezTo>
                      <a:pt x="35" y="362"/>
                      <a:pt x="64" y="381"/>
                      <a:pt x="68" y="380"/>
                    </a:cubicBezTo>
                    <a:cubicBezTo>
                      <a:pt x="70" y="380"/>
                      <a:pt x="87" y="372"/>
                      <a:pt x="88" y="371"/>
                    </a:cubicBezTo>
                    <a:cubicBezTo>
                      <a:pt x="90" y="371"/>
                      <a:pt x="93" y="371"/>
                      <a:pt x="96" y="37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95" name="Spain"/>
              <p:cNvSpPr>
                <a:spLocks noEditPoints="1"/>
              </p:cNvSpPr>
              <p:nvPr/>
            </p:nvSpPr>
            <p:spPr bwMode="auto">
              <a:xfrm>
                <a:off x="3337795" y="5309170"/>
                <a:ext cx="1215878" cy="1231302"/>
              </a:xfrm>
              <a:custGeom>
                <a:avLst/>
                <a:gdLst>
                  <a:gd name="T0" fmla="*/ 622 w 727"/>
                  <a:gd name="T1" fmla="*/ 200 h 684"/>
                  <a:gd name="T2" fmla="*/ 674 w 727"/>
                  <a:gd name="T3" fmla="*/ 205 h 684"/>
                  <a:gd name="T4" fmla="*/ 634 w 727"/>
                  <a:gd name="T5" fmla="*/ 264 h 684"/>
                  <a:gd name="T6" fmla="*/ 520 w 727"/>
                  <a:gd name="T7" fmla="*/ 310 h 684"/>
                  <a:gd name="T8" fmla="*/ 450 w 727"/>
                  <a:gd name="T9" fmla="*/ 397 h 684"/>
                  <a:gd name="T10" fmla="*/ 454 w 727"/>
                  <a:gd name="T11" fmla="*/ 469 h 684"/>
                  <a:gd name="T12" fmla="*/ 428 w 727"/>
                  <a:gd name="T13" fmla="*/ 481 h 684"/>
                  <a:gd name="T14" fmla="*/ 402 w 727"/>
                  <a:gd name="T15" fmla="*/ 521 h 684"/>
                  <a:gd name="T16" fmla="*/ 352 w 727"/>
                  <a:gd name="T17" fmla="*/ 540 h 684"/>
                  <a:gd name="T18" fmla="*/ 260 w 727"/>
                  <a:gd name="T19" fmla="*/ 571 h 684"/>
                  <a:gd name="T20" fmla="*/ 165 w 727"/>
                  <a:gd name="T21" fmla="*/ 572 h 684"/>
                  <a:gd name="T22" fmla="*/ 101 w 727"/>
                  <a:gd name="T23" fmla="*/ 597 h 684"/>
                  <a:gd name="T24" fmla="*/ 77 w 727"/>
                  <a:gd name="T25" fmla="*/ 577 h 684"/>
                  <a:gd name="T26" fmla="*/ 72 w 727"/>
                  <a:gd name="T27" fmla="*/ 547 h 684"/>
                  <a:gd name="T28" fmla="*/ 63 w 727"/>
                  <a:gd name="T29" fmla="*/ 518 h 684"/>
                  <a:gd name="T30" fmla="*/ 40 w 727"/>
                  <a:gd name="T31" fmla="*/ 495 h 684"/>
                  <a:gd name="T32" fmla="*/ 32 w 727"/>
                  <a:gd name="T33" fmla="*/ 431 h 684"/>
                  <a:gd name="T34" fmla="*/ 37 w 727"/>
                  <a:gd name="T35" fmla="*/ 399 h 684"/>
                  <a:gd name="T36" fmla="*/ 65 w 727"/>
                  <a:gd name="T37" fmla="*/ 357 h 684"/>
                  <a:gd name="T38" fmla="*/ 46 w 727"/>
                  <a:gd name="T39" fmla="*/ 305 h 684"/>
                  <a:gd name="T40" fmla="*/ 96 w 727"/>
                  <a:gd name="T41" fmla="*/ 265 h 684"/>
                  <a:gd name="T42" fmla="*/ 103 w 727"/>
                  <a:gd name="T43" fmla="*/ 229 h 684"/>
                  <a:gd name="T44" fmla="*/ 146 w 727"/>
                  <a:gd name="T45" fmla="*/ 186 h 684"/>
                  <a:gd name="T46" fmla="*/ 98 w 727"/>
                  <a:gd name="T47" fmla="*/ 143 h 684"/>
                  <a:gd name="T48" fmla="*/ 75 w 727"/>
                  <a:gd name="T49" fmla="*/ 144 h 684"/>
                  <a:gd name="T50" fmla="*/ 59 w 727"/>
                  <a:gd name="T51" fmla="*/ 136 h 684"/>
                  <a:gd name="T52" fmla="*/ 47 w 727"/>
                  <a:gd name="T53" fmla="*/ 117 h 684"/>
                  <a:gd name="T54" fmla="*/ 13 w 727"/>
                  <a:gd name="T55" fmla="*/ 107 h 684"/>
                  <a:gd name="T56" fmla="*/ 16 w 727"/>
                  <a:gd name="T57" fmla="*/ 95 h 684"/>
                  <a:gd name="T58" fmla="*/ 19 w 727"/>
                  <a:gd name="T59" fmla="*/ 86 h 684"/>
                  <a:gd name="T60" fmla="*/ 17 w 727"/>
                  <a:gd name="T61" fmla="*/ 33 h 684"/>
                  <a:gd name="T62" fmla="*/ 75 w 727"/>
                  <a:gd name="T63" fmla="*/ 10 h 684"/>
                  <a:gd name="T64" fmla="*/ 131 w 727"/>
                  <a:gd name="T65" fmla="*/ 35 h 684"/>
                  <a:gd name="T66" fmla="*/ 184 w 727"/>
                  <a:gd name="T67" fmla="*/ 41 h 684"/>
                  <a:gd name="T68" fmla="*/ 217 w 727"/>
                  <a:gd name="T69" fmla="*/ 53 h 684"/>
                  <a:gd name="T70" fmla="*/ 302 w 727"/>
                  <a:gd name="T71" fmla="*/ 71 h 684"/>
                  <a:gd name="T72" fmla="*/ 342 w 727"/>
                  <a:gd name="T73" fmla="*/ 87 h 684"/>
                  <a:gd name="T74" fmla="*/ 377 w 727"/>
                  <a:gd name="T75" fmla="*/ 100 h 684"/>
                  <a:gd name="T76" fmla="*/ 430 w 727"/>
                  <a:gd name="T77" fmla="*/ 111 h 684"/>
                  <a:gd name="T78" fmla="*/ 462 w 727"/>
                  <a:gd name="T79" fmla="*/ 138 h 684"/>
                  <a:gd name="T80" fmla="*/ 509 w 727"/>
                  <a:gd name="T81" fmla="*/ 163 h 684"/>
                  <a:gd name="T82" fmla="*/ 541 w 727"/>
                  <a:gd name="T83" fmla="*/ 157 h 684"/>
                  <a:gd name="T84" fmla="*/ 578 w 727"/>
                  <a:gd name="T85" fmla="*/ 182 h 684"/>
                  <a:gd name="T86" fmla="*/ 103 w 727"/>
                  <a:gd name="T87" fmla="*/ 627 h 684"/>
                  <a:gd name="T88" fmla="*/ 119 w 727"/>
                  <a:gd name="T89" fmla="*/ 608 h 684"/>
                  <a:gd name="T90" fmla="*/ 254 w 727"/>
                  <a:gd name="T91" fmla="*/ 669 h 684"/>
                  <a:gd name="T92" fmla="*/ 256 w 727"/>
                  <a:gd name="T93" fmla="*/ 683 h 684"/>
                  <a:gd name="T94" fmla="*/ 643 w 727"/>
                  <a:gd name="T95" fmla="*/ 437 h 684"/>
                  <a:gd name="T96" fmla="*/ 615 w 727"/>
                  <a:gd name="T97" fmla="*/ 414 h 684"/>
                  <a:gd name="T98" fmla="*/ 714 w 727"/>
                  <a:gd name="T99" fmla="*/ 387 h 684"/>
                  <a:gd name="T100" fmla="*/ 613 w 727"/>
                  <a:gd name="T101" fmla="*/ 440 h 684"/>
                  <a:gd name="T102" fmla="*/ 620 w 727"/>
                  <a:gd name="T103" fmla="*/ 442 h 684"/>
                  <a:gd name="T104" fmla="*/ 592 w 727"/>
                  <a:gd name="T105" fmla="*/ 430 h 684"/>
                  <a:gd name="T106" fmla="*/ 605 w 727"/>
                  <a:gd name="T107" fmla="*/ 422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7" h="684">
                    <a:moveTo>
                      <a:pt x="592" y="192"/>
                    </a:moveTo>
                    <a:cubicBezTo>
                      <a:pt x="596" y="193"/>
                      <a:pt x="600" y="194"/>
                      <a:pt x="603" y="197"/>
                    </a:cubicBezTo>
                    <a:cubicBezTo>
                      <a:pt x="604" y="198"/>
                      <a:pt x="605" y="204"/>
                      <a:pt x="608" y="203"/>
                    </a:cubicBezTo>
                    <a:cubicBezTo>
                      <a:pt x="613" y="203"/>
                      <a:pt x="617" y="200"/>
                      <a:pt x="622" y="200"/>
                    </a:cubicBezTo>
                    <a:cubicBezTo>
                      <a:pt x="627" y="200"/>
                      <a:pt x="637" y="211"/>
                      <a:pt x="643" y="210"/>
                    </a:cubicBezTo>
                    <a:cubicBezTo>
                      <a:pt x="645" y="209"/>
                      <a:pt x="643" y="205"/>
                      <a:pt x="644" y="203"/>
                    </a:cubicBezTo>
                    <a:cubicBezTo>
                      <a:pt x="653" y="198"/>
                      <a:pt x="663" y="203"/>
                      <a:pt x="672" y="205"/>
                    </a:cubicBezTo>
                    <a:cubicBezTo>
                      <a:pt x="674" y="205"/>
                      <a:pt x="674" y="205"/>
                      <a:pt x="674" y="205"/>
                    </a:cubicBezTo>
                    <a:cubicBezTo>
                      <a:pt x="677" y="208"/>
                      <a:pt x="679" y="211"/>
                      <a:pt x="678" y="214"/>
                    </a:cubicBezTo>
                    <a:cubicBezTo>
                      <a:pt x="677" y="219"/>
                      <a:pt x="670" y="218"/>
                      <a:pt x="667" y="220"/>
                    </a:cubicBezTo>
                    <a:cubicBezTo>
                      <a:pt x="665" y="223"/>
                      <a:pt x="674" y="236"/>
                      <a:pt x="668" y="245"/>
                    </a:cubicBezTo>
                    <a:cubicBezTo>
                      <a:pt x="665" y="252"/>
                      <a:pt x="641" y="261"/>
                      <a:pt x="634" y="264"/>
                    </a:cubicBezTo>
                    <a:cubicBezTo>
                      <a:pt x="628" y="266"/>
                      <a:pt x="618" y="268"/>
                      <a:pt x="614" y="272"/>
                    </a:cubicBezTo>
                    <a:cubicBezTo>
                      <a:pt x="610" y="275"/>
                      <a:pt x="605" y="283"/>
                      <a:pt x="600" y="284"/>
                    </a:cubicBezTo>
                    <a:cubicBezTo>
                      <a:pt x="581" y="290"/>
                      <a:pt x="546" y="286"/>
                      <a:pt x="531" y="298"/>
                    </a:cubicBezTo>
                    <a:cubicBezTo>
                      <a:pt x="527" y="302"/>
                      <a:pt x="519" y="305"/>
                      <a:pt x="520" y="310"/>
                    </a:cubicBezTo>
                    <a:cubicBezTo>
                      <a:pt x="522" y="314"/>
                      <a:pt x="531" y="313"/>
                      <a:pt x="530" y="317"/>
                    </a:cubicBezTo>
                    <a:cubicBezTo>
                      <a:pt x="530" y="319"/>
                      <a:pt x="513" y="323"/>
                      <a:pt x="511" y="323"/>
                    </a:cubicBezTo>
                    <a:cubicBezTo>
                      <a:pt x="505" y="328"/>
                      <a:pt x="502" y="338"/>
                      <a:pt x="497" y="344"/>
                    </a:cubicBezTo>
                    <a:cubicBezTo>
                      <a:pt x="481" y="360"/>
                      <a:pt x="460" y="376"/>
                      <a:pt x="450" y="397"/>
                    </a:cubicBezTo>
                    <a:cubicBezTo>
                      <a:pt x="445" y="405"/>
                      <a:pt x="451" y="433"/>
                      <a:pt x="457" y="440"/>
                    </a:cubicBezTo>
                    <a:cubicBezTo>
                      <a:pt x="458" y="442"/>
                      <a:pt x="479" y="454"/>
                      <a:pt x="474" y="457"/>
                    </a:cubicBezTo>
                    <a:cubicBezTo>
                      <a:pt x="470" y="461"/>
                      <a:pt x="460" y="462"/>
                      <a:pt x="457" y="465"/>
                    </a:cubicBezTo>
                    <a:cubicBezTo>
                      <a:pt x="455" y="466"/>
                      <a:pt x="455" y="469"/>
                      <a:pt x="454" y="469"/>
                    </a:cubicBezTo>
                    <a:cubicBezTo>
                      <a:pt x="453" y="470"/>
                      <a:pt x="451" y="469"/>
                      <a:pt x="450" y="469"/>
                    </a:cubicBezTo>
                    <a:cubicBezTo>
                      <a:pt x="446" y="470"/>
                      <a:pt x="441" y="470"/>
                      <a:pt x="437" y="473"/>
                    </a:cubicBezTo>
                    <a:cubicBezTo>
                      <a:pt x="435" y="475"/>
                      <a:pt x="436" y="479"/>
                      <a:pt x="434" y="481"/>
                    </a:cubicBezTo>
                    <a:cubicBezTo>
                      <a:pt x="432" y="482"/>
                      <a:pt x="429" y="480"/>
                      <a:pt x="428" y="481"/>
                    </a:cubicBezTo>
                    <a:cubicBezTo>
                      <a:pt x="426" y="483"/>
                      <a:pt x="428" y="488"/>
                      <a:pt x="426" y="490"/>
                    </a:cubicBezTo>
                    <a:cubicBezTo>
                      <a:pt x="424" y="493"/>
                      <a:pt x="419" y="490"/>
                      <a:pt x="417" y="493"/>
                    </a:cubicBezTo>
                    <a:cubicBezTo>
                      <a:pt x="415" y="497"/>
                      <a:pt x="419" y="502"/>
                      <a:pt x="417" y="505"/>
                    </a:cubicBezTo>
                    <a:cubicBezTo>
                      <a:pt x="412" y="516"/>
                      <a:pt x="402" y="503"/>
                      <a:pt x="402" y="521"/>
                    </a:cubicBezTo>
                    <a:cubicBezTo>
                      <a:pt x="402" y="526"/>
                      <a:pt x="411" y="528"/>
                      <a:pt x="410" y="532"/>
                    </a:cubicBezTo>
                    <a:cubicBezTo>
                      <a:pt x="408" y="536"/>
                      <a:pt x="402" y="535"/>
                      <a:pt x="397" y="534"/>
                    </a:cubicBezTo>
                    <a:cubicBezTo>
                      <a:pt x="394" y="534"/>
                      <a:pt x="391" y="532"/>
                      <a:pt x="389" y="531"/>
                    </a:cubicBezTo>
                    <a:cubicBezTo>
                      <a:pt x="377" y="528"/>
                      <a:pt x="363" y="533"/>
                      <a:pt x="352" y="540"/>
                    </a:cubicBezTo>
                    <a:cubicBezTo>
                      <a:pt x="335" y="551"/>
                      <a:pt x="335" y="573"/>
                      <a:pt x="317" y="583"/>
                    </a:cubicBezTo>
                    <a:cubicBezTo>
                      <a:pt x="310" y="586"/>
                      <a:pt x="308" y="568"/>
                      <a:pt x="291" y="572"/>
                    </a:cubicBezTo>
                    <a:cubicBezTo>
                      <a:pt x="287" y="573"/>
                      <a:pt x="286" y="578"/>
                      <a:pt x="282" y="579"/>
                    </a:cubicBezTo>
                    <a:cubicBezTo>
                      <a:pt x="277" y="581"/>
                      <a:pt x="265" y="571"/>
                      <a:pt x="260" y="571"/>
                    </a:cubicBezTo>
                    <a:cubicBezTo>
                      <a:pt x="253" y="569"/>
                      <a:pt x="245" y="573"/>
                      <a:pt x="238" y="572"/>
                    </a:cubicBezTo>
                    <a:cubicBezTo>
                      <a:pt x="234" y="571"/>
                      <a:pt x="232" y="567"/>
                      <a:pt x="228" y="566"/>
                    </a:cubicBezTo>
                    <a:cubicBezTo>
                      <a:pt x="221" y="563"/>
                      <a:pt x="187" y="558"/>
                      <a:pt x="181" y="559"/>
                    </a:cubicBezTo>
                    <a:cubicBezTo>
                      <a:pt x="174" y="561"/>
                      <a:pt x="171" y="569"/>
                      <a:pt x="165" y="572"/>
                    </a:cubicBezTo>
                    <a:cubicBezTo>
                      <a:pt x="155" y="576"/>
                      <a:pt x="144" y="566"/>
                      <a:pt x="132" y="572"/>
                    </a:cubicBezTo>
                    <a:cubicBezTo>
                      <a:pt x="122" y="577"/>
                      <a:pt x="123" y="581"/>
                      <a:pt x="118" y="589"/>
                    </a:cubicBezTo>
                    <a:cubicBezTo>
                      <a:pt x="117" y="589"/>
                      <a:pt x="114" y="586"/>
                      <a:pt x="111" y="588"/>
                    </a:cubicBezTo>
                    <a:cubicBezTo>
                      <a:pt x="108" y="590"/>
                      <a:pt x="105" y="595"/>
                      <a:pt x="101" y="597"/>
                    </a:cubicBezTo>
                    <a:cubicBezTo>
                      <a:pt x="99" y="597"/>
                      <a:pt x="99" y="593"/>
                      <a:pt x="97" y="592"/>
                    </a:cubicBezTo>
                    <a:cubicBezTo>
                      <a:pt x="95" y="590"/>
                      <a:pt x="92" y="590"/>
                      <a:pt x="90" y="588"/>
                    </a:cubicBezTo>
                    <a:cubicBezTo>
                      <a:pt x="88" y="585"/>
                      <a:pt x="87" y="581"/>
                      <a:pt x="84" y="579"/>
                    </a:cubicBezTo>
                    <a:cubicBezTo>
                      <a:pt x="83" y="577"/>
                      <a:pt x="79" y="579"/>
                      <a:pt x="77" y="577"/>
                    </a:cubicBezTo>
                    <a:cubicBezTo>
                      <a:pt x="73" y="573"/>
                      <a:pt x="68" y="555"/>
                      <a:pt x="67" y="549"/>
                    </a:cubicBezTo>
                    <a:cubicBezTo>
                      <a:pt x="67" y="549"/>
                      <a:pt x="75" y="557"/>
                      <a:pt x="74" y="552"/>
                    </a:cubicBezTo>
                    <a:cubicBezTo>
                      <a:pt x="74" y="550"/>
                      <a:pt x="71" y="552"/>
                      <a:pt x="70" y="551"/>
                    </a:cubicBezTo>
                    <a:cubicBezTo>
                      <a:pt x="69" y="550"/>
                      <a:pt x="72" y="549"/>
                      <a:pt x="72" y="547"/>
                    </a:cubicBezTo>
                    <a:cubicBezTo>
                      <a:pt x="70" y="538"/>
                      <a:pt x="62" y="549"/>
                      <a:pt x="62" y="533"/>
                    </a:cubicBezTo>
                    <a:cubicBezTo>
                      <a:pt x="62" y="533"/>
                      <a:pt x="84" y="523"/>
                      <a:pt x="79" y="521"/>
                    </a:cubicBezTo>
                    <a:cubicBezTo>
                      <a:pt x="75" y="520"/>
                      <a:pt x="72" y="530"/>
                      <a:pt x="67" y="529"/>
                    </a:cubicBezTo>
                    <a:cubicBezTo>
                      <a:pt x="63" y="528"/>
                      <a:pt x="65" y="521"/>
                      <a:pt x="63" y="518"/>
                    </a:cubicBezTo>
                    <a:cubicBezTo>
                      <a:pt x="62" y="515"/>
                      <a:pt x="59" y="512"/>
                      <a:pt x="57" y="509"/>
                    </a:cubicBezTo>
                    <a:cubicBezTo>
                      <a:pt x="42" y="494"/>
                      <a:pt x="42" y="494"/>
                      <a:pt x="42" y="494"/>
                    </a:cubicBezTo>
                    <a:cubicBezTo>
                      <a:pt x="42" y="494"/>
                      <a:pt x="42" y="494"/>
                      <a:pt x="42" y="493"/>
                    </a:cubicBezTo>
                    <a:cubicBezTo>
                      <a:pt x="41" y="494"/>
                      <a:pt x="41" y="495"/>
                      <a:pt x="40" y="495"/>
                    </a:cubicBezTo>
                    <a:cubicBezTo>
                      <a:pt x="36" y="495"/>
                      <a:pt x="34" y="491"/>
                      <a:pt x="32" y="489"/>
                    </a:cubicBezTo>
                    <a:cubicBezTo>
                      <a:pt x="29" y="488"/>
                      <a:pt x="19" y="486"/>
                      <a:pt x="12" y="486"/>
                    </a:cubicBezTo>
                    <a:cubicBezTo>
                      <a:pt x="13" y="463"/>
                      <a:pt x="7" y="459"/>
                      <a:pt x="26" y="442"/>
                    </a:cubicBezTo>
                    <a:cubicBezTo>
                      <a:pt x="29" y="439"/>
                      <a:pt x="29" y="433"/>
                      <a:pt x="32" y="431"/>
                    </a:cubicBezTo>
                    <a:cubicBezTo>
                      <a:pt x="33" y="431"/>
                      <a:pt x="61" y="430"/>
                      <a:pt x="54" y="419"/>
                    </a:cubicBezTo>
                    <a:cubicBezTo>
                      <a:pt x="53" y="416"/>
                      <a:pt x="47" y="421"/>
                      <a:pt x="44" y="419"/>
                    </a:cubicBezTo>
                    <a:cubicBezTo>
                      <a:pt x="41" y="417"/>
                      <a:pt x="42" y="412"/>
                      <a:pt x="41" y="409"/>
                    </a:cubicBezTo>
                    <a:cubicBezTo>
                      <a:pt x="40" y="405"/>
                      <a:pt x="40" y="401"/>
                      <a:pt x="37" y="399"/>
                    </a:cubicBezTo>
                    <a:cubicBezTo>
                      <a:pt x="37" y="397"/>
                      <a:pt x="33" y="399"/>
                      <a:pt x="33" y="397"/>
                    </a:cubicBezTo>
                    <a:cubicBezTo>
                      <a:pt x="35" y="394"/>
                      <a:pt x="39" y="391"/>
                      <a:pt x="41" y="387"/>
                    </a:cubicBezTo>
                    <a:cubicBezTo>
                      <a:pt x="44" y="380"/>
                      <a:pt x="34" y="385"/>
                      <a:pt x="44" y="377"/>
                    </a:cubicBezTo>
                    <a:cubicBezTo>
                      <a:pt x="53" y="370"/>
                      <a:pt x="64" y="371"/>
                      <a:pt x="65" y="357"/>
                    </a:cubicBezTo>
                    <a:cubicBezTo>
                      <a:pt x="65" y="356"/>
                      <a:pt x="54" y="348"/>
                      <a:pt x="52" y="344"/>
                    </a:cubicBezTo>
                    <a:cubicBezTo>
                      <a:pt x="49" y="336"/>
                      <a:pt x="53" y="325"/>
                      <a:pt x="53" y="323"/>
                    </a:cubicBezTo>
                    <a:cubicBezTo>
                      <a:pt x="52" y="323"/>
                      <a:pt x="43" y="305"/>
                      <a:pt x="43" y="305"/>
                    </a:cubicBezTo>
                    <a:cubicBezTo>
                      <a:pt x="42" y="304"/>
                      <a:pt x="45" y="305"/>
                      <a:pt x="46" y="305"/>
                    </a:cubicBezTo>
                    <a:cubicBezTo>
                      <a:pt x="51" y="307"/>
                      <a:pt x="54" y="308"/>
                      <a:pt x="59" y="309"/>
                    </a:cubicBezTo>
                    <a:cubicBezTo>
                      <a:pt x="72" y="312"/>
                      <a:pt x="75" y="313"/>
                      <a:pt x="82" y="300"/>
                    </a:cubicBezTo>
                    <a:cubicBezTo>
                      <a:pt x="90" y="284"/>
                      <a:pt x="81" y="290"/>
                      <a:pt x="80" y="278"/>
                    </a:cubicBezTo>
                    <a:cubicBezTo>
                      <a:pt x="78" y="267"/>
                      <a:pt x="96" y="272"/>
                      <a:pt x="96" y="265"/>
                    </a:cubicBezTo>
                    <a:cubicBezTo>
                      <a:pt x="97" y="259"/>
                      <a:pt x="90" y="264"/>
                      <a:pt x="94" y="257"/>
                    </a:cubicBezTo>
                    <a:cubicBezTo>
                      <a:pt x="94" y="256"/>
                      <a:pt x="97" y="256"/>
                      <a:pt x="97" y="254"/>
                    </a:cubicBezTo>
                    <a:cubicBezTo>
                      <a:pt x="99" y="250"/>
                      <a:pt x="99" y="246"/>
                      <a:pt x="99" y="242"/>
                    </a:cubicBezTo>
                    <a:cubicBezTo>
                      <a:pt x="100" y="238"/>
                      <a:pt x="103" y="233"/>
                      <a:pt x="103" y="229"/>
                    </a:cubicBezTo>
                    <a:cubicBezTo>
                      <a:pt x="98" y="215"/>
                      <a:pt x="98" y="215"/>
                      <a:pt x="98" y="215"/>
                    </a:cubicBezTo>
                    <a:cubicBezTo>
                      <a:pt x="99" y="214"/>
                      <a:pt x="103" y="217"/>
                      <a:pt x="106" y="216"/>
                    </a:cubicBezTo>
                    <a:cubicBezTo>
                      <a:pt x="118" y="203"/>
                      <a:pt x="118" y="203"/>
                      <a:pt x="118" y="203"/>
                    </a:cubicBezTo>
                    <a:cubicBezTo>
                      <a:pt x="126" y="199"/>
                      <a:pt x="142" y="198"/>
                      <a:pt x="146" y="186"/>
                    </a:cubicBezTo>
                    <a:cubicBezTo>
                      <a:pt x="150" y="175"/>
                      <a:pt x="135" y="176"/>
                      <a:pt x="131" y="175"/>
                    </a:cubicBezTo>
                    <a:cubicBezTo>
                      <a:pt x="128" y="175"/>
                      <a:pt x="133" y="153"/>
                      <a:pt x="131" y="152"/>
                    </a:cubicBezTo>
                    <a:cubicBezTo>
                      <a:pt x="120" y="146"/>
                      <a:pt x="118" y="151"/>
                      <a:pt x="105" y="146"/>
                    </a:cubicBezTo>
                    <a:cubicBezTo>
                      <a:pt x="103" y="145"/>
                      <a:pt x="103" y="139"/>
                      <a:pt x="98" y="143"/>
                    </a:cubicBezTo>
                    <a:cubicBezTo>
                      <a:pt x="97" y="144"/>
                      <a:pt x="99" y="147"/>
                      <a:pt x="98" y="148"/>
                    </a:cubicBezTo>
                    <a:cubicBezTo>
                      <a:pt x="90" y="155"/>
                      <a:pt x="82" y="147"/>
                      <a:pt x="80" y="146"/>
                    </a:cubicBezTo>
                    <a:cubicBezTo>
                      <a:pt x="77" y="145"/>
                      <a:pt x="75" y="148"/>
                      <a:pt x="73" y="147"/>
                    </a:cubicBezTo>
                    <a:cubicBezTo>
                      <a:pt x="72" y="146"/>
                      <a:pt x="76" y="145"/>
                      <a:pt x="75" y="144"/>
                    </a:cubicBezTo>
                    <a:cubicBezTo>
                      <a:pt x="75" y="142"/>
                      <a:pt x="72" y="141"/>
                      <a:pt x="69" y="141"/>
                    </a:cubicBezTo>
                    <a:cubicBezTo>
                      <a:pt x="66" y="141"/>
                      <a:pt x="62" y="142"/>
                      <a:pt x="59" y="141"/>
                    </a:cubicBezTo>
                    <a:cubicBezTo>
                      <a:pt x="58" y="141"/>
                      <a:pt x="59" y="139"/>
                      <a:pt x="59" y="138"/>
                    </a:cubicBezTo>
                    <a:cubicBezTo>
                      <a:pt x="59" y="138"/>
                      <a:pt x="60" y="136"/>
                      <a:pt x="59" y="136"/>
                    </a:cubicBezTo>
                    <a:cubicBezTo>
                      <a:pt x="56" y="137"/>
                      <a:pt x="50" y="145"/>
                      <a:pt x="45" y="141"/>
                    </a:cubicBezTo>
                    <a:cubicBezTo>
                      <a:pt x="31" y="132"/>
                      <a:pt x="58" y="129"/>
                      <a:pt x="51" y="123"/>
                    </a:cubicBezTo>
                    <a:cubicBezTo>
                      <a:pt x="50" y="121"/>
                      <a:pt x="47" y="123"/>
                      <a:pt x="46" y="121"/>
                    </a:cubicBezTo>
                    <a:cubicBezTo>
                      <a:pt x="46" y="120"/>
                      <a:pt x="49" y="118"/>
                      <a:pt x="47" y="117"/>
                    </a:cubicBezTo>
                    <a:cubicBezTo>
                      <a:pt x="37" y="115"/>
                      <a:pt x="23" y="119"/>
                      <a:pt x="15" y="123"/>
                    </a:cubicBezTo>
                    <a:cubicBezTo>
                      <a:pt x="16" y="119"/>
                      <a:pt x="10" y="115"/>
                      <a:pt x="10" y="110"/>
                    </a:cubicBezTo>
                    <a:cubicBezTo>
                      <a:pt x="9" y="108"/>
                      <a:pt x="12" y="112"/>
                      <a:pt x="13" y="111"/>
                    </a:cubicBezTo>
                    <a:cubicBezTo>
                      <a:pt x="15" y="111"/>
                      <a:pt x="12" y="108"/>
                      <a:pt x="13" y="107"/>
                    </a:cubicBezTo>
                    <a:cubicBezTo>
                      <a:pt x="14" y="102"/>
                      <a:pt x="23" y="104"/>
                      <a:pt x="26" y="100"/>
                    </a:cubicBezTo>
                    <a:cubicBezTo>
                      <a:pt x="28" y="100"/>
                      <a:pt x="30" y="97"/>
                      <a:pt x="28" y="98"/>
                    </a:cubicBezTo>
                    <a:cubicBezTo>
                      <a:pt x="25" y="98"/>
                      <a:pt x="21" y="102"/>
                      <a:pt x="18" y="102"/>
                    </a:cubicBezTo>
                    <a:cubicBezTo>
                      <a:pt x="15" y="103"/>
                      <a:pt x="14" y="98"/>
                      <a:pt x="16" y="95"/>
                    </a:cubicBezTo>
                    <a:cubicBezTo>
                      <a:pt x="20" y="93"/>
                      <a:pt x="27" y="95"/>
                      <a:pt x="28" y="91"/>
                    </a:cubicBezTo>
                    <a:cubicBezTo>
                      <a:pt x="29" y="87"/>
                      <a:pt x="21" y="92"/>
                      <a:pt x="18" y="91"/>
                    </a:cubicBezTo>
                    <a:cubicBezTo>
                      <a:pt x="16" y="90"/>
                      <a:pt x="14" y="87"/>
                      <a:pt x="13" y="85"/>
                    </a:cubicBezTo>
                    <a:cubicBezTo>
                      <a:pt x="13" y="79"/>
                      <a:pt x="19" y="86"/>
                      <a:pt x="19" y="86"/>
                    </a:cubicBezTo>
                    <a:cubicBezTo>
                      <a:pt x="20" y="83"/>
                      <a:pt x="19" y="81"/>
                      <a:pt x="21" y="78"/>
                    </a:cubicBezTo>
                    <a:cubicBezTo>
                      <a:pt x="23" y="76"/>
                      <a:pt x="28" y="75"/>
                      <a:pt x="28" y="72"/>
                    </a:cubicBezTo>
                    <a:cubicBezTo>
                      <a:pt x="31" y="44"/>
                      <a:pt x="8" y="76"/>
                      <a:pt x="4" y="48"/>
                    </a:cubicBezTo>
                    <a:cubicBezTo>
                      <a:pt x="0" y="30"/>
                      <a:pt x="16" y="35"/>
                      <a:pt x="17" y="33"/>
                    </a:cubicBezTo>
                    <a:cubicBezTo>
                      <a:pt x="17" y="31"/>
                      <a:pt x="12" y="33"/>
                      <a:pt x="11" y="31"/>
                    </a:cubicBezTo>
                    <a:cubicBezTo>
                      <a:pt x="10" y="30"/>
                      <a:pt x="12" y="29"/>
                      <a:pt x="13" y="29"/>
                    </a:cubicBezTo>
                    <a:cubicBezTo>
                      <a:pt x="19" y="28"/>
                      <a:pt x="23" y="30"/>
                      <a:pt x="27" y="29"/>
                    </a:cubicBezTo>
                    <a:cubicBezTo>
                      <a:pt x="42" y="28"/>
                      <a:pt x="62" y="16"/>
                      <a:pt x="75" y="10"/>
                    </a:cubicBezTo>
                    <a:cubicBezTo>
                      <a:pt x="80" y="8"/>
                      <a:pt x="86" y="0"/>
                      <a:pt x="91" y="4"/>
                    </a:cubicBezTo>
                    <a:cubicBezTo>
                      <a:pt x="93" y="5"/>
                      <a:pt x="88" y="12"/>
                      <a:pt x="90" y="13"/>
                    </a:cubicBezTo>
                    <a:cubicBezTo>
                      <a:pt x="95" y="13"/>
                      <a:pt x="98" y="5"/>
                      <a:pt x="102" y="5"/>
                    </a:cubicBezTo>
                    <a:cubicBezTo>
                      <a:pt x="118" y="5"/>
                      <a:pt x="116" y="32"/>
                      <a:pt x="131" y="35"/>
                    </a:cubicBezTo>
                    <a:cubicBezTo>
                      <a:pt x="133" y="36"/>
                      <a:pt x="135" y="30"/>
                      <a:pt x="137" y="30"/>
                    </a:cubicBezTo>
                    <a:cubicBezTo>
                      <a:pt x="153" y="34"/>
                      <a:pt x="145" y="35"/>
                      <a:pt x="161" y="37"/>
                    </a:cubicBezTo>
                    <a:cubicBezTo>
                      <a:pt x="165" y="38"/>
                      <a:pt x="172" y="36"/>
                      <a:pt x="175" y="37"/>
                    </a:cubicBezTo>
                    <a:cubicBezTo>
                      <a:pt x="179" y="38"/>
                      <a:pt x="180" y="41"/>
                      <a:pt x="184" y="41"/>
                    </a:cubicBezTo>
                    <a:cubicBezTo>
                      <a:pt x="188" y="41"/>
                      <a:pt x="192" y="35"/>
                      <a:pt x="197" y="37"/>
                    </a:cubicBezTo>
                    <a:cubicBezTo>
                      <a:pt x="201" y="38"/>
                      <a:pt x="201" y="44"/>
                      <a:pt x="205" y="47"/>
                    </a:cubicBezTo>
                    <a:cubicBezTo>
                      <a:pt x="208" y="50"/>
                      <a:pt x="215" y="47"/>
                      <a:pt x="218" y="50"/>
                    </a:cubicBezTo>
                    <a:cubicBezTo>
                      <a:pt x="219" y="51"/>
                      <a:pt x="216" y="53"/>
                      <a:pt x="217" y="53"/>
                    </a:cubicBezTo>
                    <a:cubicBezTo>
                      <a:pt x="218" y="55"/>
                      <a:pt x="222" y="51"/>
                      <a:pt x="223" y="52"/>
                    </a:cubicBezTo>
                    <a:cubicBezTo>
                      <a:pt x="238" y="62"/>
                      <a:pt x="274" y="80"/>
                      <a:pt x="293" y="74"/>
                    </a:cubicBezTo>
                    <a:cubicBezTo>
                      <a:pt x="294" y="74"/>
                      <a:pt x="294" y="72"/>
                      <a:pt x="295" y="71"/>
                    </a:cubicBezTo>
                    <a:cubicBezTo>
                      <a:pt x="298" y="70"/>
                      <a:pt x="300" y="71"/>
                      <a:pt x="302" y="71"/>
                    </a:cubicBezTo>
                    <a:cubicBezTo>
                      <a:pt x="307" y="72"/>
                      <a:pt x="318" y="70"/>
                      <a:pt x="322" y="77"/>
                    </a:cubicBezTo>
                    <a:cubicBezTo>
                      <a:pt x="322" y="78"/>
                      <a:pt x="321" y="79"/>
                      <a:pt x="321" y="80"/>
                    </a:cubicBezTo>
                    <a:cubicBezTo>
                      <a:pt x="325" y="81"/>
                      <a:pt x="338" y="93"/>
                      <a:pt x="342" y="93"/>
                    </a:cubicBezTo>
                    <a:cubicBezTo>
                      <a:pt x="344" y="93"/>
                      <a:pt x="341" y="89"/>
                      <a:pt x="342" y="87"/>
                    </a:cubicBezTo>
                    <a:cubicBezTo>
                      <a:pt x="343" y="86"/>
                      <a:pt x="346" y="85"/>
                      <a:pt x="348" y="85"/>
                    </a:cubicBezTo>
                    <a:cubicBezTo>
                      <a:pt x="364" y="82"/>
                      <a:pt x="354" y="84"/>
                      <a:pt x="360" y="92"/>
                    </a:cubicBezTo>
                    <a:cubicBezTo>
                      <a:pt x="363" y="94"/>
                      <a:pt x="367" y="91"/>
                      <a:pt x="369" y="93"/>
                    </a:cubicBezTo>
                    <a:cubicBezTo>
                      <a:pt x="373" y="94"/>
                      <a:pt x="374" y="98"/>
                      <a:pt x="377" y="100"/>
                    </a:cubicBezTo>
                    <a:cubicBezTo>
                      <a:pt x="385" y="104"/>
                      <a:pt x="400" y="103"/>
                      <a:pt x="411" y="100"/>
                    </a:cubicBezTo>
                    <a:cubicBezTo>
                      <a:pt x="415" y="104"/>
                      <a:pt x="421" y="109"/>
                      <a:pt x="421" y="109"/>
                    </a:cubicBezTo>
                    <a:cubicBezTo>
                      <a:pt x="422" y="110"/>
                      <a:pt x="421" y="107"/>
                      <a:pt x="422" y="107"/>
                    </a:cubicBezTo>
                    <a:cubicBezTo>
                      <a:pt x="425" y="108"/>
                      <a:pt x="428" y="109"/>
                      <a:pt x="430" y="111"/>
                    </a:cubicBezTo>
                    <a:cubicBezTo>
                      <a:pt x="435" y="117"/>
                      <a:pt x="419" y="124"/>
                      <a:pt x="426" y="127"/>
                    </a:cubicBezTo>
                    <a:cubicBezTo>
                      <a:pt x="429" y="128"/>
                      <a:pt x="433" y="122"/>
                      <a:pt x="434" y="123"/>
                    </a:cubicBezTo>
                    <a:cubicBezTo>
                      <a:pt x="434" y="124"/>
                      <a:pt x="433" y="127"/>
                      <a:pt x="434" y="128"/>
                    </a:cubicBezTo>
                    <a:cubicBezTo>
                      <a:pt x="442" y="136"/>
                      <a:pt x="454" y="133"/>
                      <a:pt x="462" y="138"/>
                    </a:cubicBezTo>
                    <a:cubicBezTo>
                      <a:pt x="462" y="139"/>
                      <a:pt x="468" y="152"/>
                      <a:pt x="468" y="152"/>
                    </a:cubicBezTo>
                    <a:cubicBezTo>
                      <a:pt x="476" y="158"/>
                      <a:pt x="483" y="147"/>
                      <a:pt x="491" y="154"/>
                    </a:cubicBezTo>
                    <a:cubicBezTo>
                      <a:pt x="495" y="158"/>
                      <a:pt x="492" y="165"/>
                      <a:pt x="500" y="165"/>
                    </a:cubicBezTo>
                    <a:cubicBezTo>
                      <a:pt x="503" y="166"/>
                      <a:pt x="505" y="162"/>
                      <a:pt x="509" y="163"/>
                    </a:cubicBezTo>
                    <a:cubicBezTo>
                      <a:pt x="512" y="163"/>
                      <a:pt x="514" y="167"/>
                      <a:pt x="517" y="168"/>
                    </a:cubicBezTo>
                    <a:cubicBezTo>
                      <a:pt x="519" y="168"/>
                      <a:pt x="519" y="164"/>
                      <a:pt x="520" y="164"/>
                    </a:cubicBezTo>
                    <a:cubicBezTo>
                      <a:pt x="526" y="164"/>
                      <a:pt x="531" y="168"/>
                      <a:pt x="537" y="169"/>
                    </a:cubicBezTo>
                    <a:cubicBezTo>
                      <a:pt x="537" y="169"/>
                      <a:pt x="535" y="156"/>
                      <a:pt x="541" y="157"/>
                    </a:cubicBezTo>
                    <a:cubicBezTo>
                      <a:pt x="551" y="159"/>
                      <a:pt x="557" y="166"/>
                      <a:pt x="563" y="171"/>
                    </a:cubicBezTo>
                    <a:cubicBezTo>
                      <a:pt x="563" y="172"/>
                      <a:pt x="565" y="171"/>
                      <a:pt x="566" y="171"/>
                    </a:cubicBezTo>
                    <a:cubicBezTo>
                      <a:pt x="569" y="172"/>
                      <a:pt x="572" y="172"/>
                      <a:pt x="574" y="173"/>
                    </a:cubicBezTo>
                    <a:cubicBezTo>
                      <a:pt x="577" y="176"/>
                      <a:pt x="575" y="181"/>
                      <a:pt x="578" y="182"/>
                    </a:cubicBezTo>
                    <a:cubicBezTo>
                      <a:pt x="578" y="183"/>
                      <a:pt x="578" y="183"/>
                      <a:pt x="578" y="183"/>
                    </a:cubicBezTo>
                    <a:cubicBezTo>
                      <a:pt x="575" y="189"/>
                      <a:pt x="574" y="197"/>
                      <a:pt x="592" y="192"/>
                    </a:cubicBezTo>
                    <a:close/>
                    <a:moveTo>
                      <a:pt x="99" y="610"/>
                    </a:moveTo>
                    <a:cubicBezTo>
                      <a:pt x="103" y="627"/>
                      <a:pt x="103" y="627"/>
                      <a:pt x="103" y="627"/>
                    </a:cubicBezTo>
                    <a:cubicBezTo>
                      <a:pt x="115" y="627"/>
                      <a:pt x="115" y="627"/>
                      <a:pt x="115" y="627"/>
                    </a:cubicBezTo>
                    <a:cubicBezTo>
                      <a:pt x="115" y="625"/>
                      <a:pt x="115" y="624"/>
                      <a:pt x="115" y="622"/>
                    </a:cubicBezTo>
                    <a:cubicBezTo>
                      <a:pt x="114" y="619"/>
                      <a:pt x="113" y="615"/>
                      <a:pt x="114" y="612"/>
                    </a:cubicBezTo>
                    <a:cubicBezTo>
                      <a:pt x="115" y="610"/>
                      <a:pt x="120" y="610"/>
                      <a:pt x="119" y="608"/>
                    </a:cubicBezTo>
                    <a:cubicBezTo>
                      <a:pt x="116" y="600"/>
                      <a:pt x="100" y="610"/>
                      <a:pt x="99" y="610"/>
                    </a:cubicBezTo>
                    <a:close/>
                    <a:moveTo>
                      <a:pt x="245" y="679"/>
                    </a:moveTo>
                    <a:cubicBezTo>
                      <a:pt x="253" y="684"/>
                      <a:pt x="253" y="684"/>
                      <a:pt x="253" y="684"/>
                    </a:cubicBezTo>
                    <a:cubicBezTo>
                      <a:pt x="253" y="679"/>
                      <a:pt x="255" y="674"/>
                      <a:pt x="254" y="669"/>
                    </a:cubicBezTo>
                    <a:cubicBezTo>
                      <a:pt x="253" y="665"/>
                      <a:pt x="248" y="676"/>
                      <a:pt x="245" y="679"/>
                    </a:cubicBezTo>
                    <a:close/>
                    <a:moveTo>
                      <a:pt x="256" y="683"/>
                    </a:moveTo>
                    <a:cubicBezTo>
                      <a:pt x="257" y="682"/>
                      <a:pt x="257" y="682"/>
                      <a:pt x="257" y="682"/>
                    </a:cubicBezTo>
                    <a:cubicBezTo>
                      <a:pt x="256" y="682"/>
                      <a:pt x="256" y="682"/>
                      <a:pt x="256" y="683"/>
                    </a:cubicBezTo>
                    <a:cubicBezTo>
                      <a:pt x="256" y="683"/>
                      <a:pt x="256" y="683"/>
                      <a:pt x="256" y="683"/>
                    </a:cubicBezTo>
                    <a:close/>
                    <a:moveTo>
                      <a:pt x="655" y="386"/>
                    </a:moveTo>
                    <a:cubicBezTo>
                      <a:pt x="646" y="415"/>
                      <a:pt x="656" y="395"/>
                      <a:pt x="670" y="407"/>
                    </a:cubicBezTo>
                    <a:cubicBezTo>
                      <a:pt x="674" y="410"/>
                      <a:pt x="645" y="438"/>
                      <a:pt x="643" y="437"/>
                    </a:cubicBezTo>
                    <a:cubicBezTo>
                      <a:pt x="640" y="437"/>
                      <a:pt x="641" y="431"/>
                      <a:pt x="638" y="429"/>
                    </a:cubicBezTo>
                    <a:cubicBezTo>
                      <a:pt x="630" y="424"/>
                      <a:pt x="629" y="433"/>
                      <a:pt x="626" y="425"/>
                    </a:cubicBezTo>
                    <a:cubicBezTo>
                      <a:pt x="625" y="421"/>
                      <a:pt x="626" y="416"/>
                      <a:pt x="623" y="413"/>
                    </a:cubicBezTo>
                    <a:cubicBezTo>
                      <a:pt x="621" y="411"/>
                      <a:pt x="618" y="415"/>
                      <a:pt x="615" y="414"/>
                    </a:cubicBezTo>
                    <a:cubicBezTo>
                      <a:pt x="612" y="414"/>
                      <a:pt x="608" y="412"/>
                      <a:pt x="604" y="410"/>
                    </a:cubicBezTo>
                    <a:cubicBezTo>
                      <a:pt x="604" y="409"/>
                      <a:pt x="605" y="408"/>
                      <a:pt x="605" y="408"/>
                    </a:cubicBezTo>
                    <a:cubicBezTo>
                      <a:pt x="619" y="397"/>
                      <a:pt x="637" y="390"/>
                      <a:pt x="655" y="386"/>
                    </a:cubicBezTo>
                    <a:close/>
                    <a:moveTo>
                      <a:pt x="714" y="387"/>
                    </a:moveTo>
                    <a:cubicBezTo>
                      <a:pt x="727" y="420"/>
                      <a:pt x="712" y="397"/>
                      <a:pt x="704" y="393"/>
                    </a:cubicBezTo>
                    <a:cubicBezTo>
                      <a:pt x="700" y="392"/>
                      <a:pt x="696" y="395"/>
                      <a:pt x="692" y="392"/>
                    </a:cubicBezTo>
                    <a:cubicBezTo>
                      <a:pt x="678" y="383"/>
                      <a:pt x="697" y="379"/>
                      <a:pt x="714" y="387"/>
                    </a:cubicBezTo>
                    <a:close/>
                    <a:moveTo>
                      <a:pt x="613" y="440"/>
                    </a:moveTo>
                    <a:cubicBezTo>
                      <a:pt x="610" y="443"/>
                      <a:pt x="605" y="443"/>
                      <a:pt x="605" y="446"/>
                    </a:cubicBezTo>
                    <a:cubicBezTo>
                      <a:pt x="605" y="448"/>
                      <a:pt x="607" y="453"/>
                      <a:pt x="610" y="453"/>
                    </a:cubicBezTo>
                    <a:cubicBezTo>
                      <a:pt x="613" y="453"/>
                      <a:pt x="615" y="453"/>
                      <a:pt x="620" y="449"/>
                    </a:cubicBezTo>
                    <a:cubicBezTo>
                      <a:pt x="625" y="445"/>
                      <a:pt x="620" y="442"/>
                      <a:pt x="620" y="442"/>
                    </a:cubicBezTo>
                    <a:cubicBezTo>
                      <a:pt x="614" y="440"/>
                      <a:pt x="614" y="440"/>
                      <a:pt x="614" y="440"/>
                    </a:cubicBezTo>
                    <a:lnTo>
                      <a:pt x="613" y="440"/>
                    </a:lnTo>
                    <a:close/>
                    <a:moveTo>
                      <a:pt x="600" y="423"/>
                    </a:moveTo>
                    <a:cubicBezTo>
                      <a:pt x="595" y="424"/>
                      <a:pt x="594" y="427"/>
                      <a:pt x="592" y="430"/>
                    </a:cubicBezTo>
                    <a:cubicBezTo>
                      <a:pt x="589" y="433"/>
                      <a:pt x="586" y="438"/>
                      <a:pt x="591" y="440"/>
                    </a:cubicBezTo>
                    <a:cubicBezTo>
                      <a:pt x="594" y="442"/>
                      <a:pt x="602" y="438"/>
                      <a:pt x="604" y="434"/>
                    </a:cubicBezTo>
                    <a:cubicBezTo>
                      <a:pt x="605" y="431"/>
                      <a:pt x="609" y="431"/>
                      <a:pt x="609" y="427"/>
                    </a:cubicBezTo>
                    <a:cubicBezTo>
                      <a:pt x="609" y="425"/>
                      <a:pt x="605" y="422"/>
                      <a:pt x="605" y="422"/>
                    </a:cubicBezTo>
                    <a:lnTo>
                      <a:pt x="600" y="42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96" name="Belgium"/>
              <p:cNvSpPr>
                <a:spLocks/>
              </p:cNvSpPr>
              <p:nvPr/>
            </p:nvSpPr>
            <p:spPr bwMode="auto">
              <a:xfrm>
                <a:off x="4504801" y="4474498"/>
                <a:ext cx="305081" cy="281943"/>
              </a:xfrm>
              <a:custGeom>
                <a:avLst/>
                <a:gdLst>
                  <a:gd name="T0" fmla="*/ 146 w 182"/>
                  <a:gd name="T1" fmla="*/ 154 h 156"/>
                  <a:gd name="T2" fmla="*/ 140 w 182"/>
                  <a:gd name="T3" fmla="*/ 153 h 156"/>
                  <a:gd name="T4" fmla="*/ 129 w 182"/>
                  <a:gd name="T5" fmla="*/ 154 h 156"/>
                  <a:gd name="T6" fmla="*/ 127 w 182"/>
                  <a:gd name="T7" fmla="*/ 146 h 156"/>
                  <a:gd name="T8" fmla="*/ 121 w 182"/>
                  <a:gd name="T9" fmla="*/ 144 h 156"/>
                  <a:gd name="T10" fmla="*/ 123 w 182"/>
                  <a:gd name="T11" fmla="*/ 142 h 156"/>
                  <a:gd name="T12" fmla="*/ 121 w 182"/>
                  <a:gd name="T13" fmla="*/ 139 h 156"/>
                  <a:gd name="T14" fmla="*/ 118 w 182"/>
                  <a:gd name="T15" fmla="*/ 140 h 156"/>
                  <a:gd name="T16" fmla="*/ 113 w 182"/>
                  <a:gd name="T17" fmla="*/ 133 h 156"/>
                  <a:gd name="T18" fmla="*/ 101 w 182"/>
                  <a:gd name="T19" fmla="*/ 130 h 156"/>
                  <a:gd name="T20" fmla="*/ 103 w 182"/>
                  <a:gd name="T21" fmla="*/ 122 h 156"/>
                  <a:gd name="T22" fmla="*/ 99 w 182"/>
                  <a:gd name="T23" fmla="*/ 116 h 156"/>
                  <a:gd name="T24" fmla="*/ 102 w 182"/>
                  <a:gd name="T25" fmla="*/ 109 h 156"/>
                  <a:gd name="T26" fmla="*/ 104 w 182"/>
                  <a:gd name="T27" fmla="*/ 105 h 156"/>
                  <a:gd name="T28" fmla="*/ 93 w 182"/>
                  <a:gd name="T29" fmla="*/ 115 h 156"/>
                  <a:gd name="T30" fmla="*/ 68 w 182"/>
                  <a:gd name="T31" fmla="*/ 114 h 156"/>
                  <a:gd name="T32" fmla="*/ 73 w 182"/>
                  <a:gd name="T33" fmla="*/ 107 h 156"/>
                  <a:gd name="T34" fmla="*/ 69 w 182"/>
                  <a:gd name="T35" fmla="*/ 103 h 156"/>
                  <a:gd name="T36" fmla="*/ 73 w 182"/>
                  <a:gd name="T37" fmla="*/ 93 h 156"/>
                  <a:gd name="T38" fmla="*/ 48 w 182"/>
                  <a:gd name="T39" fmla="*/ 85 h 156"/>
                  <a:gd name="T40" fmla="*/ 48 w 182"/>
                  <a:gd name="T41" fmla="*/ 77 h 156"/>
                  <a:gd name="T42" fmla="*/ 31 w 182"/>
                  <a:gd name="T43" fmla="*/ 69 h 156"/>
                  <a:gd name="T44" fmla="*/ 24 w 182"/>
                  <a:gd name="T45" fmla="*/ 49 h 156"/>
                  <a:gd name="T46" fmla="*/ 14 w 182"/>
                  <a:gd name="T47" fmla="*/ 55 h 156"/>
                  <a:gd name="T48" fmla="*/ 0 w 182"/>
                  <a:gd name="T49" fmla="*/ 26 h 156"/>
                  <a:gd name="T50" fmla="*/ 0 w 182"/>
                  <a:gd name="T51" fmla="*/ 25 h 156"/>
                  <a:gd name="T52" fmla="*/ 39 w 182"/>
                  <a:gd name="T53" fmla="*/ 6 h 156"/>
                  <a:gd name="T54" fmla="*/ 40 w 182"/>
                  <a:gd name="T55" fmla="*/ 8 h 156"/>
                  <a:gd name="T56" fmla="*/ 60 w 182"/>
                  <a:gd name="T57" fmla="*/ 17 h 156"/>
                  <a:gd name="T58" fmla="*/ 60 w 182"/>
                  <a:gd name="T59" fmla="*/ 21 h 156"/>
                  <a:gd name="T60" fmla="*/ 76 w 182"/>
                  <a:gd name="T61" fmla="*/ 14 h 156"/>
                  <a:gd name="T62" fmla="*/ 84 w 182"/>
                  <a:gd name="T63" fmla="*/ 19 h 156"/>
                  <a:gd name="T64" fmla="*/ 84 w 182"/>
                  <a:gd name="T65" fmla="*/ 13 h 156"/>
                  <a:gd name="T66" fmla="*/ 89 w 182"/>
                  <a:gd name="T67" fmla="*/ 13 h 156"/>
                  <a:gd name="T68" fmla="*/ 96 w 182"/>
                  <a:gd name="T69" fmla="*/ 4 h 156"/>
                  <a:gd name="T70" fmla="*/ 95 w 182"/>
                  <a:gd name="T71" fmla="*/ 8 h 156"/>
                  <a:gd name="T72" fmla="*/ 109 w 182"/>
                  <a:gd name="T73" fmla="*/ 4 h 156"/>
                  <a:gd name="T74" fmla="*/ 106 w 182"/>
                  <a:gd name="T75" fmla="*/ 10 h 156"/>
                  <a:gd name="T76" fmla="*/ 118 w 182"/>
                  <a:gd name="T77" fmla="*/ 6 h 156"/>
                  <a:gd name="T78" fmla="*/ 126 w 182"/>
                  <a:gd name="T79" fmla="*/ 23 h 156"/>
                  <a:gd name="T80" fmla="*/ 155 w 182"/>
                  <a:gd name="T81" fmla="*/ 33 h 156"/>
                  <a:gd name="T82" fmla="*/ 152 w 182"/>
                  <a:gd name="T83" fmla="*/ 37 h 156"/>
                  <a:gd name="T84" fmla="*/ 147 w 182"/>
                  <a:gd name="T85" fmla="*/ 46 h 156"/>
                  <a:gd name="T86" fmla="*/ 149 w 182"/>
                  <a:gd name="T87" fmla="*/ 48 h 156"/>
                  <a:gd name="T88" fmla="*/ 146 w 182"/>
                  <a:gd name="T89" fmla="*/ 53 h 156"/>
                  <a:gd name="T90" fmla="*/ 160 w 182"/>
                  <a:gd name="T91" fmla="*/ 63 h 156"/>
                  <a:gd name="T92" fmla="*/ 161 w 182"/>
                  <a:gd name="T93" fmla="*/ 63 h 156"/>
                  <a:gd name="T94" fmla="*/ 167 w 182"/>
                  <a:gd name="T95" fmla="*/ 73 h 156"/>
                  <a:gd name="T96" fmla="*/ 172 w 182"/>
                  <a:gd name="T97" fmla="*/ 74 h 156"/>
                  <a:gd name="T98" fmla="*/ 168 w 182"/>
                  <a:gd name="T99" fmla="*/ 81 h 156"/>
                  <a:gd name="T100" fmla="*/ 176 w 182"/>
                  <a:gd name="T101" fmla="*/ 86 h 156"/>
                  <a:gd name="T102" fmla="*/ 163 w 182"/>
                  <a:gd name="T103" fmla="*/ 109 h 156"/>
                  <a:gd name="T104" fmla="*/ 143 w 182"/>
                  <a:gd name="T105" fmla="*/ 126 h 156"/>
                  <a:gd name="T106" fmla="*/ 146 w 182"/>
                  <a:gd name="T107" fmla="*/ 152 h 156"/>
                  <a:gd name="T108" fmla="*/ 146 w 182"/>
                  <a:gd name="T109" fmla="*/ 154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2" h="156">
                    <a:moveTo>
                      <a:pt x="146" y="154"/>
                    </a:moveTo>
                    <a:cubicBezTo>
                      <a:pt x="144" y="153"/>
                      <a:pt x="142" y="153"/>
                      <a:pt x="140" y="153"/>
                    </a:cubicBezTo>
                    <a:cubicBezTo>
                      <a:pt x="136" y="152"/>
                      <a:pt x="133" y="156"/>
                      <a:pt x="129" y="154"/>
                    </a:cubicBezTo>
                    <a:cubicBezTo>
                      <a:pt x="126" y="153"/>
                      <a:pt x="129" y="148"/>
                      <a:pt x="127" y="146"/>
                    </a:cubicBezTo>
                    <a:cubicBezTo>
                      <a:pt x="126" y="144"/>
                      <a:pt x="123" y="145"/>
                      <a:pt x="121" y="144"/>
                    </a:cubicBezTo>
                    <a:cubicBezTo>
                      <a:pt x="121" y="144"/>
                      <a:pt x="123" y="142"/>
                      <a:pt x="123" y="142"/>
                    </a:cubicBezTo>
                    <a:cubicBezTo>
                      <a:pt x="123" y="141"/>
                      <a:pt x="122" y="140"/>
                      <a:pt x="121" y="139"/>
                    </a:cubicBezTo>
                    <a:cubicBezTo>
                      <a:pt x="120" y="139"/>
                      <a:pt x="118" y="141"/>
                      <a:pt x="118" y="140"/>
                    </a:cubicBezTo>
                    <a:cubicBezTo>
                      <a:pt x="116" y="139"/>
                      <a:pt x="115" y="135"/>
                      <a:pt x="113" y="133"/>
                    </a:cubicBezTo>
                    <a:cubicBezTo>
                      <a:pt x="109" y="132"/>
                      <a:pt x="103" y="133"/>
                      <a:pt x="101" y="130"/>
                    </a:cubicBezTo>
                    <a:cubicBezTo>
                      <a:pt x="99" y="128"/>
                      <a:pt x="103" y="124"/>
                      <a:pt x="103" y="122"/>
                    </a:cubicBezTo>
                    <a:cubicBezTo>
                      <a:pt x="103" y="119"/>
                      <a:pt x="99" y="119"/>
                      <a:pt x="99" y="116"/>
                    </a:cubicBezTo>
                    <a:cubicBezTo>
                      <a:pt x="99" y="114"/>
                      <a:pt x="101" y="111"/>
                      <a:pt x="102" y="109"/>
                    </a:cubicBezTo>
                    <a:cubicBezTo>
                      <a:pt x="103" y="107"/>
                      <a:pt x="105" y="106"/>
                      <a:pt x="104" y="105"/>
                    </a:cubicBezTo>
                    <a:cubicBezTo>
                      <a:pt x="100" y="101"/>
                      <a:pt x="97" y="111"/>
                      <a:pt x="93" y="115"/>
                    </a:cubicBezTo>
                    <a:cubicBezTo>
                      <a:pt x="85" y="122"/>
                      <a:pt x="66" y="118"/>
                      <a:pt x="68" y="114"/>
                    </a:cubicBezTo>
                    <a:cubicBezTo>
                      <a:pt x="70" y="111"/>
                      <a:pt x="73" y="110"/>
                      <a:pt x="73" y="107"/>
                    </a:cubicBezTo>
                    <a:cubicBezTo>
                      <a:pt x="73" y="105"/>
                      <a:pt x="68" y="105"/>
                      <a:pt x="69" y="103"/>
                    </a:cubicBezTo>
                    <a:cubicBezTo>
                      <a:pt x="69" y="99"/>
                      <a:pt x="73" y="97"/>
                      <a:pt x="73" y="93"/>
                    </a:cubicBezTo>
                    <a:cubicBezTo>
                      <a:pt x="72" y="84"/>
                      <a:pt x="49" y="89"/>
                      <a:pt x="48" y="85"/>
                    </a:cubicBezTo>
                    <a:cubicBezTo>
                      <a:pt x="47" y="83"/>
                      <a:pt x="49" y="80"/>
                      <a:pt x="48" y="77"/>
                    </a:cubicBezTo>
                    <a:cubicBezTo>
                      <a:pt x="47" y="68"/>
                      <a:pt x="34" y="77"/>
                      <a:pt x="31" y="69"/>
                    </a:cubicBezTo>
                    <a:cubicBezTo>
                      <a:pt x="28" y="65"/>
                      <a:pt x="32" y="52"/>
                      <a:pt x="24" y="49"/>
                    </a:cubicBezTo>
                    <a:cubicBezTo>
                      <a:pt x="21" y="47"/>
                      <a:pt x="18" y="55"/>
                      <a:pt x="14" y="55"/>
                    </a:cubicBezTo>
                    <a:cubicBezTo>
                      <a:pt x="1" y="55"/>
                      <a:pt x="1" y="34"/>
                      <a:pt x="0" y="26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10" y="23"/>
                      <a:pt x="26" y="10"/>
                      <a:pt x="39" y="6"/>
                    </a:cubicBezTo>
                    <a:cubicBezTo>
                      <a:pt x="40" y="8"/>
                      <a:pt x="40" y="8"/>
                      <a:pt x="40" y="8"/>
                    </a:cubicBezTo>
                    <a:cubicBezTo>
                      <a:pt x="39" y="23"/>
                      <a:pt x="51" y="13"/>
                      <a:pt x="60" y="17"/>
                    </a:cubicBezTo>
                    <a:cubicBezTo>
                      <a:pt x="61" y="18"/>
                      <a:pt x="58" y="20"/>
                      <a:pt x="60" y="21"/>
                    </a:cubicBezTo>
                    <a:cubicBezTo>
                      <a:pt x="66" y="26"/>
                      <a:pt x="72" y="18"/>
                      <a:pt x="76" y="14"/>
                    </a:cubicBezTo>
                    <a:cubicBezTo>
                      <a:pt x="80" y="17"/>
                      <a:pt x="83" y="19"/>
                      <a:pt x="84" y="19"/>
                    </a:cubicBezTo>
                    <a:cubicBezTo>
                      <a:pt x="86" y="17"/>
                      <a:pt x="86" y="15"/>
                      <a:pt x="84" y="13"/>
                    </a:cubicBezTo>
                    <a:cubicBezTo>
                      <a:pt x="86" y="13"/>
                      <a:pt x="87" y="14"/>
                      <a:pt x="89" y="13"/>
                    </a:cubicBezTo>
                    <a:cubicBezTo>
                      <a:pt x="93" y="13"/>
                      <a:pt x="82" y="0"/>
                      <a:pt x="96" y="4"/>
                    </a:cubicBezTo>
                    <a:cubicBezTo>
                      <a:pt x="97" y="4"/>
                      <a:pt x="95" y="7"/>
                      <a:pt x="95" y="8"/>
                    </a:cubicBezTo>
                    <a:cubicBezTo>
                      <a:pt x="102" y="13"/>
                      <a:pt x="104" y="0"/>
                      <a:pt x="109" y="4"/>
                    </a:cubicBezTo>
                    <a:cubicBezTo>
                      <a:pt x="110" y="6"/>
                      <a:pt x="104" y="9"/>
                      <a:pt x="106" y="10"/>
                    </a:cubicBezTo>
                    <a:cubicBezTo>
                      <a:pt x="119" y="17"/>
                      <a:pt x="108" y="8"/>
                      <a:pt x="118" y="6"/>
                    </a:cubicBezTo>
                    <a:cubicBezTo>
                      <a:pt x="119" y="6"/>
                      <a:pt x="122" y="22"/>
                      <a:pt x="126" y="23"/>
                    </a:cubicBezTo>
                    <a:cubicBezTo>
                      <a:pt x="135" y="24"/>
                      <a:pt x="147" y="24"/>
                      <a:pt x="155" y="33"/>
                    </a:cubicBezTo>
                    <a:cubicBezTo>
                      <a:pt x="155" y="34"/>
                      <a:pt x="152" y="36"/>
                      <a:pt x="152" y="37"/>
                    </a:cubicBezTo>
                    <a:cubicBezTo>
                      <a:pt x="151" y="40"/>
                      <a:pt x="148" y="43"/>
                      <a:pt x="147" y="46"/>
                    </a:cubicBezTo>
                    <a:cubicBezTo>
                      <a:pt x="147" y="47"/>
                      <a:pt x="150" y="47"/>
                      <a:pt x="149" y="48"/>
                    </a:cubicBezTo>
                    <a:cubicBezTo>
                      <a:pt x="149" y="50"/>
                      <a:pt x="146" y="50"/>
                      <a:pt x="146" y="53"/>
                    </a:cubicBezTo>
                    <a:cubicBezTo>
                      <a:pt x="142" y="67"/>
                      <a:pt x="151" y="63"/>
                      <a:pt x="160" y="63"/>
                    </a:cubicBezTo>
                    <a:cubicBezTo>
                      <a:pt x="161" y="63"/>
                      <a:pt x="161" y="63"/>
                      <a:pt x="161" y="63"/>
                    </a:cubicBezTo>
                    <a:cubicBezTo>
                      <a:pt x="163" y="67"/>
                      <a:pt x="166" y="73"/>
                      <a:pt x="167" y="73"/>
                    </a:cubicBezTo>
                    <a:cubicBezTo>
                      <a:pt x="168" y="75"/>
                      <a:pt x="172" y="72"/>
                      <a:pt x="172" y="74"/>
                    </a:cubicBezTo>
                    <a:cubicBezTo>
                      <a:pt x="172" y="76"/>
                      <a:pt x="168" y="79"/>
                      <a:pt x="168" y="81"/>
                    </a:cubicBezTo>
                    <a:cubicBezTo>
                      <a:pt x="169" y="84"/>
                      <a:pt x="174" y="84"/>
                      <a:pt x="176" y="86"/>
                    </a:cubicBezTo>
                    <a:cubicBezTo>
                      <a:pt x="182" y="97"/>
                      <a:pt x="167" y="98"/>
                      <a:pt x="163" y="109"/>
                    </a:cubicBezTo>
                    <a:cubicBezTo>
                      <a:pt x="157" y="98"/>
                      <a:pt x="146" y="119"/>
                      <a:pt x="143" y="126"/>
                    </a:cubicBezTo>
                    <a:cubicBezTo>
                      <a:pt x="142" y="131"/>
                      <a:pt x="159" y="153"/>
                      <a:pt x="146" y="152"/>
                    </a:cubicBezTo>
                    <a:lnTo>
                      <a:pt x="146" y="15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97" name="Poland"/>
              <p:cNvSpPr>
                <a:spLocks noEditPoints="1"/>
              </p:cNvSpPr>
              <p:nvPr/>
            </p:nvSpPr>
            <p:spPr bwMode="auto">
              <a:xfrm>
                <a:off x="5374132" y="4007783"/>
                <a:ext cx="823421" cy="742285"/>
              </a:xfrm>
              <a:custGeom>
                <a:avLst/>
                <a:gdLst>
                  <a:gd name="T0" fmla="*/ 78 w 492"/>
                  <a:gd name="T1" fmla="*/ 310 h 413"/>
                  <a:gd name="T2" fmla="*/ 106 w 492"/>
                  <a:gd name="T3" fmla="*/ 322 h 413"/>
                  <a:gd name="T4" fmla="*/ 127 w 492"/>
                  <a:gd name="T5" fmla="*/ 323 h 413"/>
                  <a:gd name="T6" fmla="*/ 149 w 492"/>
                  <a:gd name="T7" fmla="*/ 362 h 413"/>
                  <a:gd name="T8" fmla="*/ 154 w 492"/>
                  <a:gd name="T9" fmla="*/ 336 h 413"/>
                  <a:gd name="T10" fmla="*/ 192 w 492"/>
                  <a:gd name="T11" fmla="*/ 345 h 413"/>
                  <a:gd name="T12" fmla="*/ 190 w 492"/>
                  <a:gd name="T13" fmla="*/ 353 h 413"/>
                  <a:gd name="T14" fmla="*/ 204 w 492"/>
                  <a:gd name="T15" fmla="*/ 365 h 413"/>
                  <a:gd name="T16" fmla="*/ 225 w 492"/>
                  <a:gd name="T17" fmla="*/ 364 h 413"/>
                  <a:gd name="T18" fmla="*/ 252 w 492"/>
                  <a:gd name="T19" fmla="*/ 383 h 413"/>
                  <a:gd name="T20" fmla="*/ 262 w 492"/>
                  <a:gd name="T21" fmla="*/ 401 h 413"/>
                  <a:gd name="T22" fmla="*/ 294 w 492"/>
                  <a:gd name="T23" fmla="*/ 393 h 413"/>
                  <a:gd name="T24" fmla="*/ 302 w 492"/>
                  <a:gd name="T25" fmla="*/ 410 h 413"/>
                  <a:gd name="T26" fmla="*/ 332 w 492"/>
                  <a:gd name="T27" fmla="*/ 391 h 413"/>
                  <a:gd name="T28" fmla="*/ 356 w 492"/>
                  <a:gd name="T29" fmla="*/ 396 h 413"/>
                  <a:gd name="T30" fmla="*/ 368 w 492"/>
                  <a:gd name="T31" fmla="*/ 386 h 413"/>
                  <a:gd name="T32" fmla="*/ 410 w 492"/>
                  <a:gd name="T33" fmla="*/ 393 h 413"/>
                  <a:gd name="T34" fmla="*/ 451 w 492"/>
                  <a:gd name="T35" fmla="*/ 400 h 413"/>
                  <a:gd name="T36" fmla="*/ 445 w 492"/>
                  <a:gd name="T37" fmla="*/ 382 h 413"/>
                  <a:gd name="T38" fmla="*/ 492 w 492"/>
                  <a:gd name="T39" fmla="*/ 277 h 413"/>
                  <a:gd name="T40" fmla="*/ 458 w 492"/>
                  <a:gd name="T41" fmla="*/ 227 h 413"/>
                  <a:gd name="T42" fmla="*/ 445 w 492"/>
                  <a:gd name="T43" fmla="*/ 167 h 413"/>
                  <a:gd name="T44" fmla="*/ 450 w 492"/>
                  <a:gd name="T45" fmla="*/ 123 h 413"/>
                  <a:gd name="T46" fmla="*/ 411 w 492"/>
                  <a:gd name="T47" fmla="*/ 21 h 413"/>
                  <a:gd name="T48" fmla="*/ 378 w 492"/>
                  <a:gd name="T49" fmla="*/ 9 h 413"/>
                  <a:gd name="T50" fmla="*/ 192 w 492"/>
                  <a:gd name="T51" fmla="*/ 13 h 413"/>
                  <a:gd name="T52" fmla="*/ 184 w 492"/>
                  <a:gd name="T53" fmla="*/ 4 h 413"/>
                  <a:gd name="T54" fmla="*/ 96 w 492"/>
                  <a:gd name="T55" fmla="*/ 55 h 413"/>
                  <a:gd name="T56" fmla="*/ 13 w 492"/>
                  <a:gd name="T57" fmla="*/ 86 h 413"/>
                  <a:gd name="T58" fmla="*/ 14 w 492"/>
                  <a:gd name="T59" fmla="*/ 168 h 413"/>
                  <a:gd name="T60" fmla="*/ 43 w 492"/>
                  <a:gd name="T61" fmla="*/ 211 h 413"/>
                  <a:gd name="T62" fmla="*/ 40 w 492"/>
                  <a:gd name="T63" fmla="*/ 240 h 413"/>
                  <a:gd name="T64" fmla="*/ 56 w 492"/>
                  <a:gd name="T65" fmla="*/ 266 h 413"/>
                  <a:gd name="T66" fmla="*/ 1 w 492"/>
                  <a:gd name="T67" fmla="*/ 99 h 413"/>
                  <a:gd name="T68" fmla="*/ 1 w 492"/>
                  <a:gd name="T69" fmla="*/ 99 h 413"/>
                  <a:gd name="T70" fmla="*/ 3 w 492"/>
                  <a:gd name="T71" fmla="*/ 100 h 413"/>
                  <a:gd name="T72" fmla="*/ 5 w 492"/>
                  <a:gd name="T73" fmla="*/ 100 h 413"/>
                  <a:gd name="T74" fmla="*/ 6 w 492"/>
                  <a:gd name="T75" fmla="*/ 101 h 413"/>
                  <a:gd name="T76" fmla="*/ 6 w 492"/>
                  <a:gd name="T77" fmla="*/ 101 h 413"/>
                  <a:gd name="T78" fmla="*/ 7 w 492"/>
                  <a:gd name="T79" fmla="*/ 101 h 413"/>
                  <a:gd name="T80" fmla="*/ 7 w 492"/>
                  <a:gd name="T81" fmla="*/ 101 h 413"/>
                  <a:gd name="T82" fmla="*/ 7 w 492"/>
                  <a:gd name="T83" fmla="*/ 101 h 413"/>
                  <a:gd name="T84" fmla="*/ 13 w 492"/>
                  <a:gd name="T85" fmla="*/ 103 h 413"/>
                  <a:gd name="T86" fmla="*/ 207 w 492"/>
                  <a:gd name="T87" fmla="*/ 16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92" h="413">
                    <a:moveTo>
                      <a:pt x="57" y="312"/>
                    </a:moveTo>
                    <a:cubicBezTo>
                      <a:pt x="72" y="310"/>
                      <a:pt x="54" y="297"/>
                      <a:pt x="70" y="300"/>
                    </a:cubicBezTo>
                    <a:cubicBezTo>
                      <a:pt x="80" y="301"/>
                      <a:pt x="71" y="306"/>
                      <a:pt x="78" y="310"/>
                    </a:cubicBezTo>
                    <a:cubicBezTo>
                      <a:pt x="87" y="318"/>
                      <a:pt x="94" y="313"/>
                      <a:pt x="101" y="317"/>
                    </a:cubicBezTo>
                    <a:cubicBezTo>
                      <a:pt x="104" y="319"/>
                      <a:pt x="103" y="322"/>
                      <a:pt x="104" y="323"/>
                    </a:cubicBezTo>
                    <a:cubicBezTo>
                      <a:pt x="105" y="324"/>
                      <a:pt x="106" y="322"/>
                      <a:pt x="106" y="322"/>
                    </a:cubicBezTo>
                    <a:cubicBezTo>
                      <a:pt x="108" y="322"/>
                      <a:pt x="110" y="320"/>
                      <a:pt x="110" y="322"/>
                    </a:cubicBezTo>
                    <a:cubicBezTo>
                      <a:pt x="112" y="323"/>
                      <a:pt x="110" y="326"/>
                      <a:pt x="112" y="328"/>
                    </a:cubicBezTo>
                    <a:cubicBezTo>
                      <a:pt x="112" y="328"/>
                      <a:pt x="125" y="321"/>
                      <a:pt x="127" y="323"/>
                    </a:cubicBezTo>
                    <a:cubicBezTo>
                      <a:pt x="143" y="330"/>
                      <a:pt x="121" y="333"/>
                      <a:pt x="122" y="340"/>
                    </a:cubicBezTo>
                    <a:cubicBezTo>
                      <a:pt x="135" y="348"/>
                      <a:pt x="135" y="348"/>
                      <a:pt x="135" y="348"/>
                    </a:cubicBezTo>
                    <a:cubicBezTo>
                      <a:pt x="137" y="350"/>
                      <a:pt x="140" y="365"/>
                      <a:pt x="149" y="362"/>
                    </a:cubicBezTo>
                    <a:cubicBezTo>
                      <a:pt x="151" y="361"/>
                      <a:pt x="151" y="357"/>
                      <a:pt x="152" y="355"/>
                    </a:cubicBezTo>
                    <a:cubicBezTo>
                      <a:pt x="155" y="353"/>
                      <a:pt x="161" y="354"/>
                      <a:pt x="162" y="350"/>
                    </a:cubicBezTo>
                    <a:cubicBezTo>
                      <a:pt x="163" y="349"/>
                      <a:pt x="151" y="337"/>
                      <a:pt x="154" y="336"/>
                    </a:cubicBezTo>
                    <a:cubicBezTo>
                      <a:pt x="162" y="335"/>
                      <a:pt x="172" y="344"/>
                      <a:pt x="177" y="345"/>
                    </a:cubicBezTo>
                    <a:cubicBezTo>
                      <a:pt x="179" y="346"/>
                      <a:pt x="182" y="345"/>
                      <a:pt x="185" y="345"/>
                    </a:cubicBezTo>
                    <a:cubicBezTo>
                      <a:pt x="187" y="345"/>
                      <a:pt x="190" y="346"/>
                      <a:pt x="192" y="345"/>
                    </a:cubicBezTo>
                    <a:cubicBezTo>
                      <a:pt x="193" y="344"/>
                      <a:pt x="192" y="342"/>
                      <a:pt x="193" y="341"/>
                    </a:cubicBezTo>
                    <a:cubicBezTo>
                      <a:pt x="194" y="340"/>
                      <a:pt x="195" y="340"/>
                      <a:pt x="195" y="341"/>
                    </a:cubicBezTo>
                    <a:cubicBezTo>
                      <a:pt x="202" y="354"/>
                      <a:pt x="197" y="346"/>
                      <a:pt x="190" y="353"/>
                    </a:cubicBezTo>
                    <a:cubicBezTo>
                      <a:pt x="187" y="354"/>
                      <a:pt x="195" y="355"/>
                      <a:pt x="198" y="357"/>
                    </a:cubicBezTo>
                    <a:cubicBezTo>
                      <a:pt x="199" y="358"/>
                      <a:pt x="199" y="361"/>
                      <a:pt x="200" y="363"/>
                    </a:cubicBezTo>
                    <a:cubicBezTo>
                      <a:pt x="202" y="364"/>
                      <a:pt x="203" y="365"/>
                      <a:pt x="204" y="365"/>
                    </a:cubicBezTo>
                    <a:cubicBezTo>
                      <a:pt x="221" y="363"/>
                      <a:pt x="202" y="362"/>
                      <a:pt x="212" y="358"/>
                    </a:cubicBezTo>
                    <a:cubicBezTo>
                      <a:pt x="213" y="357"/>
                      <a:pt x="213" y="359"/>
                      <a:pt x="214" y="360"/>
                    </a:cubicBezTo>
                    <a:cubicBezTo>
                      <a:pt x="216" y="362"/>
                      <a:pt x="222" y="363"/>
                      <a:pt x="225" y="364"/>
                    </a:cubicBezTo>
                    <a:cubicBezTo>
                      <a:pt x="229" y="365"/>
                      <a:pt x="234" y="363"/>
                      <a:pt x="237" y="366"/>
                    </a:cubicBezTo>
                    <a:cubicBezTo>
                      <a:pt x="237" y="366"/>
                      <a:pt x="242" y="380"/>
                      <a:pt x="243" y="380"/>
                    </a:cubicBezTo>
                    <a:cubicBezTo>
                      <a:pt x="245" y="382"/>
                      <a:pt x="250" y="380"/>
                      <a:pt x="252" y="383"/>
                    </a:cubicBezTo>
                    <a:cubicBezTo>
                      <a:pt x="254" y="386"/>
                      <a:pt x="252" y="391"/>
                      <a:pt x="255" y="393"/>
                    </a:cubicBezTo>
                    <a:cubicBezTo>
                      <a:pt x="256" y="395"/>
                      <a:pt x="260" y="392"/>
                      <a:pt x="261" y="394"/>
                    </a:cubicBezTo>
                    <a:cubicBezTo>
                      <a:pt x="263" y="396"/>
                      <a:pt x="260" y="400"/>
                      <a:pt x="262" y="401"/>
                    </a:cubicBezTo>
                    <a:cubicBezTo>
                      <a:pt x="271" y="409"/>
                      <a:pt x="278" y="380"/>
                      <a:pt x="284" y="384"/>
                    </a:cubicBezTo>
                    <a:cubicBezTo>
                      <a:pt x="288" y="386"/>
                      <a:pt x="288" y="391"/>
                      <a:pt x="290" y="394"/>
                    </a:cubicBezTo>
                    <a:cubicBezTo>
                      <a:pt x="291" y="395"/>
                      <a:pt x="293" y="393"/>
                      <a:pt x="294" y="393"/>
                    </a:cubicBezTo>
                    <a:cubicBezTo>
                      <a:pt x="294" y="395"/>
                      <a:pt x="292" y="397"/>
                      <a:pt x="293" y="397"/>
                    </a:cubicBezTo>
                    <a:cubicBezTo>
                      <a:pt x="296" y="398"/>
                      <a:pt x="299" y="395"/>
                      <a:pt x="301" y="396"/>
                    </a:cubicBezTo>
                    <a:cubicBezTo>
                      <a:pt x="305" y="398"/>
                      <a:pt x="302" y="409"/>
                      <a:pt x="302" y="410"/>
                    </a:cubicBezTo>
                    <a:cubicBezTo>
                      <a:pt x="302" y="413"/>
                      <a:pt x="307" y="408"/>
                      <a:pt x="310" y="408"/>
                    </a:cubicBezTo>
                    <a:cubicBezTo>
                      <a:pt x="312" y="407"/>
                      <a:pt x="314" y="412"/>
                      <a:pt x="316" y="410"/>
                    </a:cubicBezTo>
                    <a:cubicBezTo>
                      <a:pt x="317" y="410"/>
                      <a:pt x="324" y="392"/>
                      <a:pt x="332" y="391"/>
                    </a:cubicBezTo>
                    <a:cubicBezTo>
                      <a:pt x="334" y="390"/>
                      <a:pt x="336" y="392"/>
                      <a:pt x="338" y="392"/>
                    </a:cubicBezTo>
                    <a:cubicBezTo>
                      <a:pt x="341" y="392"/>
                      <a:pt x="342" y="388"/>
                      <a:pt x="344" y="389"/>
                    </a:cubicBezTo>
                    <a:cubicBezTo>
                      <a:pt x="349" y="389"/>
                      <a:pt x="351" y="396"/>
                      <a:pt x="356" y="396"/>
                    </a:cubicBezTo>
                    <a:cubicBezTo>
                      <a:pt x="359" y="396"/>
                      <a:pt x="362" y="392"/>
                      <a:pt x="364" y="389"/>
                    </a:cubicBezTo>
                    <a:cubicBezTo>
                      <a:pt x="364" y="388"/>
                      <a:pt x="361" y="388"/>
                      <a:pt x="361" y="387"/>
                    </a:cubicBezTo>
                    <a:cubicBezTo>
                      <a:pt x="363" y="379"/>
                      <a:pt x="366" y="387"/>
                      <a:pt x="368" y="386"/>
                    </a:cubicBezTo>
                    <a:cubicBezTo>
                      <a:pt x="370" y="386"/>
                      <a:pt x="370" y="382"/>
                      <a:pt x="372" y="382"/>
                    </a:cubicBezTo>
                    <a:cubicBezTo>
                      <a:pt x="380" y="380"/>
                      <a:pt x="400" y="380"/>
                      <a:pt x="407" y="386"/>
                    </a:cubicBezTo>
                    <a:cubicBezTo>
                      <a:pt x="409" y="388"/>
                      <a:pt x="408" y="392"/>
                      <a:pt x="410" y="393"/>
                    </a:cubicBezTo>
                    <a:cubicBezTo>
                      <a:pt x="414" y="395"/>
                      <a:pt x="418" y="395"/>
                      <a:pt x="422" y="396"/>
                    </a:cubicBezTo>
                    <a:cubicBezTo>
                      <a:pt x="429" y="399"/>
                      <a:pt x="436" y="399"/>
                      <a:pt x="443" y="400"/>
                    </a:cubicBezTo>
                    <a:cubicBezTo>
                      <a:pt x="445" y="400"/>
                      <a:pt x="448" y="399"/>
                      <a:pt x="451" y="400"/>
                    </a:cubicBezTo>
                    <a:cubicBezTo>
                      <a:pt x="452" y="400"/>
                      <a:pt x="454" y="403"/>
                      <a:pt x="454" y="402"/>
                    </a:cubicBezTo>
                    <a:cubicBezTo>
                      <a:pt x="447" y="380"/>
                      <a:pt x="453" y="403"/>
                      <a:pt x="443" y="391"/>
                    </a:cubicBezTo>
                    <a:cubicBezTo>
                      <a:pt x="441" y="389"/>
                      <a:pt x="445" y="385"/>
                      <a:pt x="445" y="382"/>
                    </a:cubicBezTo>
                    <a:cubicBezTo>
                      <a:pt x="443" y="376"/>
                      <a:pt x="437" y="372"/>
                      <a:pt x="436" y="366"/>
                    </a:cubicBezTo>
                    <a:cubicBezTo>
                      <a:pt x="435" y="361"/>
                      <a:pt x="469" y="297"/>
                      <a:pt x="474" y="293"/>
                    </a:cubicBezTo>
                    <a:cubicBezTo>
                      <a:pt x="484" y="285"/>
                      <a:pt x="490" y="297"/>
                      <a:pt x="492" y="277"/>
                    </a:cubicBezTo>
                    <a:cubicBezTo>
                      <a:pt x="492" y="272"/>
                      <a:pt x="480" y="262"/>
                      <a:pt x="480" y="262"/>
                    </a:cubicBezTo>
                    <a:cubicBezTo>
                      <a:pt x="477" y="256"/>
                      <a:pt x="490" y="257"/>
                      <a:pt x="488" y="255"/>
                    </a:cubicBezTo>
                    <a:cubicBezTo>
                      <a:pt x="479" y="248"/>
                      <a:pt x="463" y="237"/>
                      <a:pt x="458" y="227"/>
                    </a:cubicBezTo>
                    <a:cubicBezTo>
                      <a:pt x="457" y="224"/>
                      <a:pt x="459" y="220"/>
                      <a:pt x="458" y="216"/>
                    </a:cubicBezTo>
                    <a:cubicBezTo>
                      <a:pt x="456" y="212"/>
                      <a:pt x="451" y="210"/>
                      <a:pt x="449" y="206"/>
                    </a:cubicBezTo>
                    <a:cubicBezTo>
                      <a:pt x="445" y="195"/>
                      <a:pt x="457" y="176"/>
                      <a:pt x="445" y="167"/>
                    </a:cubicBezTo>
                    <a:cubicBezTo>
                      <a:pt x="441" y="164"/>
                      <a:pt x="435" y="162"/>
                      <a:pt x="430" y="161"/>
                    </a:cubicBezTo>
                    <a:cubicBezTo>
                      <a:pt x="429" y="161"/>
                      <a:pt x="428" y="164"/>
                      <a:pt x="427" y="163"/>
                    </a:cubicBezTo>
                    <a:cubicBezTo>
                      <a:pt x="410" y="157"/>
                      <a:pt x="446" y="127"/>
                      <a:pt x="450" y="123"/>
                    </a:cubicBezTo>
                    <a:cubicBezTo>
                      <a:pt x="450" y="122"/>
                      <a:pt x="452" y="121"/>
                      <a:pt x="452" y="120"/>
                    </a:cubicBezTo>
                    <a:cubicBezTo>
                      <a:pt x="450" y="89"/>
                      <a:pt x="425" y="62"/>
                      <a:pt x="415" y="34"/>
                    </a:cubicBezTo>
                    <a:cubicBezTo>
                      <a:pt x="411" y="31"/>
                      <a:pt x="415" y="25"/>
                      <a:pt x="411" y="21"/>
                    </a:cubicBezTo>
                    <a:cubicBezTo>
                      <a:pt x="401" y="6"/>
                      <a:pt x="407" y="18"/>
                      <a:pt x="392" y="12"/>
                    </a:cubicBezTo>
                    <a:cubicBezTo>
                      <a:pt x="386" y="9"/>
                      <a:pt x="390" y="2"/>
                      <a:pt x="381" y="5"/>
                    </a:cubicBezTo>
                    <a:cubicBezTo>
                      <a:pt x="380" y="5"/>
                      <a:pt x="380" y="8"/>
                      <a:pt x="378" y="9"/>
                    </a:cubicBezTo>
                    <a:cubicBezTo>
                      <a:pt x="352" y="25"/>
                      <a:pt x="276" y="27"/>
                      <a:pt x="243" y="23"/>
                    </a:cubicBezTo>
                    <a:cubicBezTo>
                      <a:pt x="233" y="34"/>
                      <a:pt x="217" y="40"/>
                      <a:pt x="204" y="35"/>
                    </a:cubicBezTo>
                    <a:cubicBezTo>
                      <a:pt x="193" y="30"/>
                      <a:pt x="195" y="19"/>
                      <a:pt x="192" y="13"/>
                    </a:cubicBezTo>
                    <a:cubicBezTo>
                      <a:pt x="191" y="11"/>
                      <a:pt x="187" y="6"/>
                      <a:pt x="189" y="7"/>
                    </a:cubicBezTo>
                    <a:cubicBezTo>
                      <a:pt x="191" y="7"/>
                      <a:pt x="192" y="7"/>
                      <a:pt x="194" y="8"/>
                    </a:cubicBezTo>
                    <a:cubicBezTo>
                      <a:pt x="191" y="6"/>
                      <a:pt x="187" y="4"/>
                      <a:pt x="184" y="4"/>
                    </a:cubicBezTo>
                    <a:cubicBezTo>
                      <a:pt x="164" y="0"/>
                      <a:pt x="141" y="18"/>
                      <a:pt x="126" y="27"/>
                    </a:cubicBezTo>
                    <a:cubicBezTo>
                      <a:pt x="121" y="30"/>
                      <a:pt x="114" y="29"/>
                      <a:pt x="110" y="32"/>
                    </a:cubicBezTo>
                    <a:cubicBezTo>
                      <a:pt x="101" y="41"/>
                      <a:pt x="99" y="55"/>
                      <a:pt x="96" y="55"/>
                    </a:cubicBezTo>
                    <a:cubicBezTo>
                      <a:pt x="75" y="60"/>
                      <a:pt x="55" y="69"/>
                      <a:pt x="35" y="77"/>
                    </a:cubicBezTo>
                    <a:cubicBezTo>
                      <a:pt x="30" y="79"/>
                      <a:pt x="27" y="86"/>
                      <a:pt x="22" y="87"/>
                    </a:cubicBezTo>
                    <a:cubicBezTo>
                      <a:pt x="19" y="88"/>
                      <a:pt x="16" y="85"/>
                      <a:pt x="13" y="86"/>
                    </a:cubicBezTo>
                    <a:cubicBezTo>
                      <a:pt x="8" y="89"/>
                      <a:pt x="20" y="101"/>
                      <a:pt x="15" y="103"/>
                    </a:cubicBezTo>
                    <a:cubicBezTo>
                      <a:pt x="16" y="112"/>
                      <a:pt x="25" y="129"/>
                      <a:pt x="26" y="135"/>
                    </a:cubicBezTo>
                    <a:cubicBezTo>
                      <a:pt x="28" y="148"/>
                      <a:pt x="10" y="157"/>
                      <a:pt x="14" y="168"/>
                    </a:cubicBezTo>
                    <a:cubicBezTo>
                      <a:pt x="16" y="175"/>
                      <a:pt x="37" y="178"/>
                      <a:pt x="37" y="186"/>
                    </a:cubicBezTo>
                    <a:cubicBezTo>
                      <a:pt x="37" y="195"/>
                      <a:pt x="31" y="198"/>
                      <a:pt x="36" y="204"/>
                    </a:cubicBezTo>
                    <a:cubicBezTo>
                      <a:pt x="37" y="207"/>
                      <a:pt x="41" y="208"/>
                      <a:pt x="43" y="211"/>
                    </a:cubicBezTo>
                    <a:cubicBezTo>
                      <a:pt x="44" y="214"/>
                      <a:pt x="42" y="218"/>
                      <a:pt x="43" y="221"/>
                    </a:cubicBezTo>
                    <a:cubicBezTo>
                      <a:pt x="43" y="223"/>
                      <a:pt x="45" y="222"/>
                      <a:pt x="46" y="223"/>
                    </a:cubicBezTo>
                    <a:cubicBezTo>
                      <a:pt x="49" y="227"/>
                      <a:pt x="42" y="237"/>
                      <a:pt x="40" y="240"/>
                    </a:cubicBezTo>
                    <a:cubicBezTo>
                      <a:pt x="37" y="245"/>
                      <a:pt x="45" y="248"/>
                      <a:pt x="47" y="253"/>
                    </a:cubicBezTo>
                    <a:cubicBezTo>
                      <a:pt x="48" y="256"/>
                      <a:pt x="44" y="259"/>
                      <a:pt x="46" y="262"/>
                    </a:cubicBezTo>
                    <a:cubicBezTo>
                      <a:pt x="48" y="265"/>
                      <a:pt x="53" y="264"/>
                      <a:pt x="56" y="266"/>
                    </a:cubicBezTo>
                    <a:cubicBezTo>
                      <a:pt x="62" y="272"/>
                      <a:pt x="61" y="301"/>
                      <a:pt x="57" y="312"/>
                    </a:cubicBezTo>
                    <a:close/>
                    <a:moveTo>
                      <a:pt x="0" y="99"/>
                    </a:moveTo>
                    <a:cubicBezTo>
                      <a:pt x="1" y="99"/>
                      <a:pt x="1" y="99"/>
                      <a:pt x="1" y="99"/>
                    </a:cubicBezTo>
                    <a:moveTo>
                      <a:pt x="1" y="99"/>
                    </a:moveTo>
                    <a:cubicBezTo>
                      <a:pt x="1" y="99"/>
                      <a:pt x="2" y="99"/>
                      <a:pt x="2" y="100"/>
                    </a:cubicBezTo>
                    <a:cubicBezTo>
                      <a:pt x="2" y="99"/>
                      <a:pt x="1" y="99"/>
                      <a:pt x="1" y="99"/>
                    </a:cubicBezTo>
                    <a:close/>
                    <a:moveTo>
                      <a:pt x="3" y="100"/>
                    </a:moveTo>
                    <a:cubicBezTo>
                      <a:pt x="3" y="100"/>
                      <a:pt x="3" y="100"/>
                      <a:pt x="3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4" y="100"/>
                      <a:pt x="4" y="100"/>
                      <a:pt x="4" y="100"/>
                    </a:cubicBezTo>
                    <a:moveTo>
                      <a:pt x="4" y="100"/>
                    </a:moveTo>
                    <a:cubicBezTo>
                      <a:pt x="4" y="100"/>
                      <a:pt x="4" y="100"/>
                      <a:pt x="5" y="100"/>
                    </a:cubicBezTo>
                    <a:cubicBezTo>
                      <a:pt x="4" y="100"/>
                      <a:pt x="4" y="100"/>
                      <a:pt x="4" y="100"/>
                    </a:cubicBezTo>
                    <a:close/>
                    <a:moveTo>
                      <a:pt x="5" y="100"/>
                    </a:moveTo>
                    <a:cubicBezTo>
                      <a:pt x="5" y="100"/>
                      <a:pt x="5" y="101"/>
                      <a:pt x="6" y="101"/>
                    </a:cubicBezTo>
                    <a:cubicBezTo>
                      <a:pt x="5" y="101"/>
                      <a:pt x="5" y="100"/>
                      <a:pt x="5" y="100"/>
                    </a:cubicBezTo>
                    <a:close/>
                    <a:moveTo>
                      <a:pt x="6" y="101"/>
                    </a:moveTo>
                    <a:cubicBezTo>
                      <a:pt x="6" y="101"/>
                      <a:pt x="6" y="101"/>
                      <a:pt x="6" y="101"/>
                    </a:cubicBezTo>
                    <a:cubicBezTo>
                      <a:pt x="6" y="101"/>
                      <a:pt x="6" y="101"/>
                      <a:pt x="6" y="101"/>
                    </a:cubicBezTo>
                    <a:moveTo>
                      <a:pt x="6" y="101"/>
                    </a:moveTo>
                    <a:cubicBezTo>
                      <a:pt x="7" y="101"/>
                      <a:pt x="7" y="101"/>
                      <a:pt x="7" y="101"/>
                    </a:cubicBezTo>
                    <a:cubicBezTo>
                      <a:pt x="7" y="101"/>
                      <a:pt x="7" y="101"/>
                      <a:pt x="6" y="101"/>
                    </a:cubicBezTo>
                    <a:close/>
                    <a:moveTo>
                      <a:pt x="7" y="101"/>
                    </a:moveTo>
                    <a:cubicBezTo>
                      <a:pt x="7" y="101"/>
                      <a:pt x="7" y="101"/>
                      <a:pt x="7" y="101"/>
                    </a:cubicBezTo>
                    <a:moveTo>
                      <a:pt x="7" y="101"/>
                    </a:moveTo>
                    <a:cubicBezTo>
                      <a:pt x="8" y="101"/>
                      <a:pt x="8" y="101"/>
                      <a:pt x="8" y="101"/>
                    </a:cubicBezTo>
                    <a:cubicBezTo>
                      <a:pt x="8" y="101"/>
                      <a:pt x="8" y="101"/>
                      <a:pt x="7" y="101"/>
                    </a:cubicBezTo>
                    <a:close/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moveTo>
                      <a:pt x="13" y="103"/>
                    </a:moveTo>
                    <a:cubicBezTo>
                      <a:pt x="13" y="103"/>
                      <a:pt x="13" y="103"/>
                      <a:pt x="13" y="103"/>
                    </a:cubicBezTo>
                    <a:close/>
                    <a:moveTo>
                      <a:pt x="201" y="12"/>
                    </a:moveTo>
                    <a:cubicBezTo>
                      <a:pt x="203" y="13"/>
                      <a:pt x="205" y="14"/>
                      <a:pt x="207" y="16"/>
                    </a:cubicBezTo>
                    <a:cubicBezTo>
                      <a:pt x="208" y="17"/>
                      <a:pt x="208" y="19"/>
                      <a:pt x="207" y="18"/>
                    </a:cubicBezTo>
                    <a:cubicBezTo>
                      <a:pt x="203" y="15"/>
                      <a:pt x="202" y="13"/>
                      <a:pt x="201" y="12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98" name="Greece"/>
              <p:cNvSpPr>
                <a:spLocks noEditPoints="1"/>
              </p:cNvSpPr>
              <p:nvPr/>
            </p:nvSpPr>
            <p:spPr bwMode="auto">
              <a:xfrm>
                <a:off x="6047974" y="5618192"/>
                <a:ext cx="713829" cy="928653"/>
              </a:xfrm>
              <a:custGeom>
                <a:avLst/>
                <a:gdLst>
                  <a:gd name="T0" fmla="*/ 331 w 427"/>
                  <a:gd name="T1" fmla="*/ 513 h 516"/>
                  <a:gd name="T2" fmla="*/ 272 w 427"/>
                  <a:gd name="T3" fmla="*/ 500 h 516"/>
                  <a:gd name="T4" fmla="*/ 270 w 427"/>
                  <a:gd name="T5" fmla="*/ 481 h 516"/>
                  <a:gd name="T6" fmla="*/ 292 w 427"/>
                  <a:gd name="T7" fmla="*/ 482 h 516"/>
                  <a:gd name="T8" fmla="*/ 342 w 427"/>
                  <a:gd name="T9" fmla="*/ 474 h 516"/>
                  <a:gd name="T10" fmla="*/ 388 w 427"/>
                  <a:gd name="T11" fmla="*/ 470 h 516"/>
                  <a:gd name="T12" fmla="*/ 305 w 427"/>
                  <a:gd name="T13" fmla="*/ 37 h 516"/>
                  <a:gd name="T14" fmla="*/ 323 w 427"/>
                  <a:gd name="T15" fmla="*/ 0 h 516"/>
                  <a:gd name="T16" fmla="*/ 326 w 427"/>
                  <a:gd name="T17" fmla="*/ 0 h 516"/>
                  <a:gd name="T18" fmla="*/ 337 w 427"/>
                  <a:gd name="T19" fmla="*/ 40 h 516"/>
                  <a:gd name="T20" fmla="*/ 328 w 427"/>
                  <a:gd name="T21" fmla="*/ 69 h 516"/>
                  <a:gd name="T22" fmla="*/ 235 w 427"/>
                  <a:gd name="T23" fmla="*/ 81 h 516"/>
                  <a:gd name="T24" fmla="*/ 212 w 427"/>
                  <a:gd name="T25" fmla="*/ 126 h 516"/>
                  <a:gd name="T26" fmla="*/ 223 w 427"/>
                  <a:gd name="T27" fmla="*/ 126 h 516"/>
                  <a:gd name="T28" fmla="*/ 222 w 427"/>
                  <a:gd name="T29" fmla="*/ 145 h 516"/>
                  <a:gd name="T30" fmla="*/ 187 w 427"/>
                  <a:gd name="T31" fmla="*/ 139 h 516"/>
                  <a:gd name="T32" fmla="*/ 157 w 427"/>
                  <a:gd name="T33" fmla="*/ 137 h 516"/>
                  <a:gd name="T34" fmla="*/ 145 w 427"/>
                  <a:gd name="T35" fmla="*/ 141 h 516"/>
                  <a:gd name="T36" fmla="*/ 197 w 427"/>
                  <a:gd name="T37" fmla="*/ 220 h 516"/>
                  <a:gd name="T38" fmla="*/ 171 w 427"/>
                  <a:gd name="T39" fmla="*/ 225 h 516"/>
                  <a:gd name="T40" fmla="*/ 159 w 427"/>
                  <a:gd name="T41" fmla="*/ 254 h 516"/>
                  <a:gd name="T42" fmla="*/ 184 w 427"/>
                  <a:gd name="T43" fmla="*/ 255 h 516"/>
                  <a:gd name="T44" fmla="*/ 219 w 427"/>
                  <a:gd name="T45" fmla="*/ 267 h 516"/>
                  <a:gd name="T46" fmla="*/ 251 w 427"/>
                  <a:gd name="T47" fmla="*/ 298 h 516"/>
                  <a:gd name="T48" fmla="*/ 250 w 427"/>
                  <a:gd name="T49" fmla="*/ 320 h 516"/>
                  <a:gd name="T50" fmla="*/ 216 w 427"/>
                  <a:gd name="T51" fmla="*/ 308 h 516"/>
                  <a:gd name="T52" fmla="*/ 204 w 427"/>
                  <a:gd name="T53" fmla="*/ 328 h 516"/>
                  <a:gd name="T54" fmla="*/ 197 w 427"/>
                  <a:gd name="T55" fmla="*/ 350 h 516"/>
                  <a:gd name="T56" fmla="*/ 196 w 427"/>
                  <a:gd name="T57" fmla="*/ 369 h 516"/>
                  <a:gd name="T58" fmla="*/ 208 w 427"/>
                  <a:gd name="T59" fmla="*/ 401 h 516"/>
                  <a:gd name="T60" fmla="*/ 214 w 427"/>
                  <a:gd name="T61" fmla="*/ 423 h 516"/>
                  <a:gd name="T62" fmla="*/ 180 w 427"/>
                  <a:gd name="T63" fmla="*/ 427 h 516"/>
                  <a:gd name="T64" fmla="*/ 158 w 427"/>
                  <a:gd name="T65" fmla="*/ 399 h 516"/>
                  <a:gd name="T66" fmla="*/ 125 w 427"/>
                  <a:gd name="T67" fmla="*/ 398 h 516"/>
                  <a:gd name="T68" fmla="*/ 97 w 427"/>
                  <a:gd name="T69" fmla="*/ 353 h 516"/>
                  <a:gd name="T70" fmla="*/ 94 w 427"/>
                  <a:gd name="T71" fmla="*/ 310 h 516"/>
                  <a:gd name="T72" fmla="*/ 120 w 427"/>
                  <a:gd name="T73" fmla="*/ 297 h 516"/>
                  <a:gd name="T74" fmla="*/ 191 w 427"/>
                  <a:gd name="T75" fmla="*/ 311 h 516"/>
                  <a:gd name="T76" fmla="*/ 196 w 427"/>
                  <a:gd name="T77" fmla="*/ 293 h 516"/>
                  <a:gd name="T78" fmla="*/ 162 w 427"/>
                  <a:gd name="T79" fmla="*/ 294 h 516"/>
                  <a:gd name="T80" fmla="*/ 102 w 427"/>
                  <a:gd name="T81" fmla="*/ 302 h 516"/>
                  <a:gd name="T82" fmla="*/ 79 w 427"/>
                  <a:gd name="T83" fmla="*/ 304 h 516"/>
                  <a:gd name="T84" fmla="*/ 59 w 427"/>
                  <a:gd name="T85" fmla="*/ 272 h 516"/>
                  <a:gd name="T86" fmla="*/ 17 w 427"/>
                  <a:gd name="T87" fmla="*/ 233 h 516"/>
                  <a:gd name="T88" fmla="*/ 2 w 427"/>
                  <a:gd name="T89" fmla="*/ 213 h 516"/>
                  <a:gd name="T90" fmla="*/ 35 w 427"/>
                  <a:gd name="T91" fmla="*/ 179 h 516"/>
                  <a:gd name="T92" fmla="*/ 89 w 427"/>
                  <a:gd name="T93" fmla="*/ 108 h 516"/>
                  <a:gd name="T94" fmla="*/ 139 w 427"/>
                  <a:gd name="T95" fmla="*/ 83 h 516"/>
                  <a:gd name="T96" fmla="*/ 149 w 427"/>
                  <a:gd name="T97" fmla="*/ 66 h 516"/>
                  <a:gd name="T98" fmla="*/ 167 w 427"/>
                  <a:gd name="T99" fmla="*/ 59 h 516"/>
                  <a:gd name="T100" fmla="*/ 234 w 427"/>
                  <a:gd name="T101" fmla="*/ 34 h 516"/>
                  <a:gd name="T102" fmla="*/ 256 w 427"/>
                  <a:gd name="T103" fmla="*/ 40 h 516"/>
                  <a:gd name="T104" fmla="*/ 75 w 427"/>
                  <a:gd name="T105" fmla="*/ 255 h 516"/>
                  <a:gd name="T106" fmla="*/ 75 w 427"/>
                  <a:gd name="T107" fmla="*/ 255 h 516"/>
                  <a:gd name="T108" fmla="*/ 42 w 427"/>
                  <a:gd name="T109" fmla="*/ 311 h 516"/>
                  <a:gd name="T110" fmla="*/ 54 w 427"/>
                  <a:gd name="T111" fmla="*/ 311 h 516"/>
                  <a:gd name="T112" fmla="*/ 223 w 427"/>
                  <a:gd name="T113" fmla="*/ 268 h 516"/>
                  <a:gd name="T114" fmla="*/ 178 w 427"/>
                  <a:gd name="T115" fmla="*/ 245 h 516"/>
                  <a:gd name="T116" fmla="*/ 218 w 427"/>
                  <a:gd name="T117" fmla="*/ 244 h 516"/>
                  <a:gd name="T118" fmla="*/ 253 w 427"/>
                  <a:gd name="T119" fmla="*/ 247 h 516"/>
                  <a:gd name="T120" fmla="*/ 264 w 427"/>
                  <a:gd name="T121" fmla="*/ 278 h 516"/>
                  <a:gd name="T122" fmla="*/ 259 w 427"/>
                  <a:gd name="T123" fmla="*/ 277 h 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27" h="516">
                    <a:moveTo>
                      <a:pt x="421" y="465"/>
                    </a:moveTo>
                    <a:cubicBezTo>
                      <a:pt x="415" y="477"/>
                      <a:pt x="427" y="469"/>
                      <a:pt x="420" y="486"/>
                    </a:cubicBezTo>
                    <a:cubicBezTo>
                      <a:pt x="420" y="488"/>
                      <a:pt x="374" y="498"/>
                      <a:pt x="369" y="500"/>
                    </a:cubicBezTo>
                    <a:cubicBezTo>
                      <a:pt x="366" y="501"/>
                      <a:pt x="334" y="516"/>
                      <a:pt x="331" y="513"/>
                    </a:cubicBezTo>
                    <a:cubicBezTo>
                      <a:pt x="321" y="502"/>
                      <a:pt x="339" y="503"/>
                      <a:pt x="307" y="499"/>
                    </a:cubicBezTo>
                    <a:cubicBezTo>
                      <a:pt x="274" y="495"/>
                      <a:pt x="315" y="503"/>
                      <a:pt x="287" y="503"/>
                    </a:cubicBezTo>
                    <a:cubicBezTo>
                      <a:pt x="285" y="503"/>
                      <a:pt x="285" y="500"/>
                      <a:pt x="283" y="500"/>
                    </a:cubicBezTo>
                    <a:cubicBezTo>
                      <a:pt x="279" y="499"/>
                      <a:pt x="275" y="500"/>
                      <a:pt x="272" y="500"/>
                    </a:cubicBezTo>
                    <a:cubicBezTo>
                      <a:pt x="268" y="502"/>
                      <a:pt x="263" y="504"/>
                      <a:pt x="259" y="504"/>
                    </a:cubicBezTo>
                    <a:cubicBezTo>
                      <a:pt x="251" y="504"/>
                      <a:pt x="254" y="494"/>
                      <a:pt x="255" y="490"/>
                    </a:cubicBezTo>
                    <a:cubicBezTo>
                      <a:pt x="255" y="486"/>
                      <a:pt x="253" y="481"/>
                      <a:pt x="255" y="477"/>
                    </a:cubicBezTo>
                    <a:cubicBezTo>
                      <a:pt x="261" y="459"/>
                      <a:pt x="266" y="479"/>
                      <a:pt x="270" y="481"/>
                    </a:cubicBezTo>
                    <a:cubicBezTo>
                      <a:pt x="274" y="482"/>
                      <a:pt x="279" y="480"/>
                      <a:pt x="283" y="478"/>
                    </a:cubicBezTo>
                    <a:cubicBezTo>
                      <a:pt x="286" y="477"/>
                      <a:pt x="287" y="470"/>
                      <a:pt x="290" y="472"/>
                    </a:cubicBezTo>
                    <a:cubicBezTo>
                      <a:pt x="292" y="474"/>
                      <a:pt x="283" y="477"/>
                      <a:pt x="284" y="480"/>
                    </a:cubicBezTo>
                    <a:cubicBezTo>
                      <a:pt x="285" y="482"/>
                      <a:pt x="290" y="481"/>
                      <a:pt x="292" y="482"/>
                    </a:cubicBezTo>
                    <a:cubicBezTo>
                      <a:pt x="295" y="483"/>
                      <a:pt x="298" y="487"/>
                      <a:pt x="301" y="487"/>
                    </a:cubicBezTo>
                    <a:cubicBezTo>
                      <a:pt x="304" y="488"/>
                      <a:pt x="306" y="486"/>
                      <a:pt x="309" y="485"/>
                    </a:cubicBezTo>
                    <a:cubicBezTo>
                      <a:pt x="315" y="483"/>
                      <a:pt x="318" y="478"/>
                      <a:pt x="324" y="477"/>
                    </a:cubicBezTo>
                    <a:cubicBezTo>
                      <a:pt x="330" y="475"/>
                      <a:pt x="336" y="476"/>
                      <a:pt x="342" y="474"/>
                    </a:cubicBezTo>
                    <a:cubicBezTo>
                      <a:pt x="346" y="473"/>
                      <a:pt x="343" y="478"/>
                      <a:pt x="346" y="478"/>
                    </a:cubicBezTo>
                    <a:cubicBezTo>
                      <a:pt x="352" y="480"/>
                      <a:pt x="359" y="475"/>
                      <a:pt x="365" y="476"/>
                    </a:cubicBezTo>
                    <a:cubicBezTo>
                      <a:pt x="367" y="476"/>
                      <a:pt x="368" y="479"/>
                      <a:pt x="370" y="478"/>
                    </a:cubicBezTo>
                    <a:cubicBezTo>
                      <a:pt x="373" y="478"/>
                      <a:pt x="383" y="469"/>
                      <a:pt x="388" y="470"/>
                    </a:cubicBezTo>
                    <a:cubicBezTo>
                      <a:pt x="389" y="471"/>
                      <a:pt x="380" y="483"/>
                      <a:pt x="393" y="487"/>
                    </a:cubicBezTo>
                    <a:cubicBezTo>
                      <a:pt x="396" y="488"/>
                      <a:pt x="396" y="482"/>
                      <a:pt x="398" y="480"/>
                    </a:cubicBezTo>
                    <a:cubicBezTo>
                      <a:pt x="410" y="468"/>
                      <a:pt x="408" y="483"/>
                      <a:pt x="421" y="465"/>
                    </a:cubicBezTo>
                    <a:moveTo>
                      <a:pt x="305" y="37"/>
                    </a:moveTo>
                    <a:cubicBezTo>
                      <a:pt x="305" y="36"/>
                      <a:pt x="305" y="36"/>
                      <a:pt x="305" y="36"/>
                    </a:cubicBezTo>
                    <a:cubicBezTo>
                      <a:pt x="306" y="36"/>
                      <a:pt x="306" y="36"/>
                      <a:pt x="306" y="36"/>
                    </a:cubicBezTo>
                    <a:cubicBezTo>
                      <a:pt x="307" y="36"/>
                      <a:pt x="324" y="30"/>
                      <a:pt x="324" y="30"/>
                    </a:cubicBezTo>
                    <a:cubicBezTo>
                      <a:pt x="337" y="21"/>
                      <a:pt x="301" y="5"/>
                      <a:pt x="323" y="0"/>
                    </a:cubicBezTo>
                    <a:cubicBezTo>
                      <a:pt x="323" y="0"/>
                      <a:pt x="323" y="0"/>
                      <a:pt x="324" y="0"/>
                    </a:cubicBezTo>
                    <a:cubicBezTo>
                      <a:pt x="325" y="0"/>
                      <a:pt x="325" y="0"/>
                      <a:pt x="325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6" y="0"/>
                      <a:pt x="326" y="0"/>
                      <a:pt x="326" y="0"/>
                    </a:cubicBezTo>
                    <a:cubicBezTo>
                      <a:pt x="328" y="0"/>
                      <a:pt x="329" y="0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43" y="4"/>
                      <a:pt x="360" y="16"/>
                      <a:pt x="351" y="26"/>
                    </a:cubicBezTo>
                    <a:cubicBezTo>
                      <a:pt x="345" y="33"/>
                      <a:pt x="339" y="29"/>
                      <a:pt x="337" y="40"/>
                    </a:cubicBezTo>
                    <a:cubicBezTo>
                      <a:pt x="341" y="57"/>
                      <a:pt x="341" y="57"/>
                      <a:pt x="341" y="57"/>
                    </a:cubicBezTo>
                    <a:cubicBezTo>
                      <a:pt x="341" y="61"/>
                      <a:pt x="333" y="74"/>
                      <a:pt x="329" y="76"/>
                    </a:cubicBezTo>
                    <a:cubicBezTo>
                      <a:pt x="328" y="82"/>
                      <a:pt x="328" y="82"/>
                      <a:pt x="328" y="82"/>
                    </a:cubicBezTo>
                    <a:cubicBezTo>
                      <a:pt x="318" y="77"/>
                      <a:pt x="337" y="77"/>
                      <a:pt x="328" y="69"/>
                    </a:cubicBezTo>
                    <a:cubicBezTo>
                      <a:pt x="323" y="65"/>
                      <a:pt x="305" y="73"/>
                      <a:pt x="299" y="73"/>
                    </a:cubicBezTo>
                    <a:cubicBezTo>
                      <a:pt x="281" y="72"/>
                      <a:pt x="279" y="60"/>
                      <a:pt x="267" y="74"/>
                    </a:cubicBezTo>
                    <a:cubicBezTo>
                      <a:pt x="264" y="78"/>
                      <a:pt x="261" y="81"/>
                      <a:pt x="258" y="83"/>
                    </a:cubicBezTo>
                    <a:cubicBezTo>
                      <a:pt x="242" y="91"/>
                      <a:pt x="251" y="72"/>
                      <a:pt x="235" y="81"/>
                    </a:cubicBezTo>
                    <a:cubicBezTo>
                      <a:pt x="229" y="85"/>
                      <a:pt x="233" y="95"/>
                      <a:pt x="221" y="100"/>
                    </a:cubicBezTo>
                    <a:cubicBezTo>
                      <a:pt x="210" y="105"/>
                      <a:pt x="209" y="91"/>
                      <a:pt x="199" y="104"/>
                    </a:cubicBezTo>
                    <a:cubicBezTo>
                      <a:pt x="195" y="109"/>
                      <a:pt x="201" y="109"/>
                      <a:pt x="203" y="110"/>
                    </a:cubicBezTo>
                    <a:cubicBezTo>
                      <a:pt x="208" y="113"/>
                      <a:pt x="208" y="121"/>
                      <a:pt x="212" y="126"/>
                    </a:cubicBezTo>
                    <a:cubicBezTo>
                      <a:pt x="213" y="127"/>
                      <a:pt x="216" y="126"/>
                      <a:pt x="218" y="126"/>
                    </a:cubicBezTo>
                    <a:cubicBezTo>
                      <a:pt x="218" y="126"/>
                      <a:pt x="219" y="125"/>
                      <a:pt x="219" y="124"/>
                    </a:cubicBezTo>
                    <a:cubicBezTo>
                      <a:pt x="219" y="123"/>
                      <a:pt x="217" y="121"/>
                      <a:pt x="219" y="121"/>
                    </a:cubicBezTo>
                    <a:cubicBezTo>
                      <a:pt x="221" y="120"/>
                      <a:pt x="221" y="125"/>
                      <a:pt x="223" y="126"/>
                    </a:cubicBezTo>
                    <a:cubicBezTo>
                      <a:pt x="230" y="128"/>
                      <a:pt x="243" y="130"/>
                      <a:pt x="245" y="138"/>
                    </a:cubicBezTo>
                    <a:cubicBezTo>
                      <a:pt x="249" y="155"/>
                      <a:pt x="230" y="131"/>
                      <a:pt x="230" y="131"/>
                    </a:cubicBezTo>
                    <a:cubicBezTo>
                      <a:pt x="224" y="128"/>
                      <a:pt x="206" y="125"/>
                      <a:pt x="204" y="136"/>
                    </a:cubicBezTo>
                    <a:cubicBezTo>
                      <a:pt x="202" y="143"/>
                      <a:pt x="217" y="141"/>
                      <a:pt x="222" y="145"/>
                    </a:cubicBezTo>
                    <a:cubicBezTo>
                      <a:pt x="225" y="149"/>
                      <a:pt x="225" y="160"/>
                      <a:pt x="221" y="158"/>
                    </a:cubicBezTo>
                    <a:cubicBezTo>
                      <a:pt x="212" y="155"/>
                      <a:pt x="211" y="145"/>
                      <a:pt x="202" y="140"/>
                    </a:cubicBezTo>
                    <a:cubicBezTo>
                      <a:pt x="200" y="139"/>
                      <a:pt x="197" y="141"/>
                      <a:pt x="195" y="140"/>
                    </a:cubicBezTo>
                    <a:cubicBezTo>
                      <a:pt x="192" y="140"/>
                      <a:pt x="189" y="137"/>
                      <a:pt x="187" y="139"/>
                    </a:cubicBezTo>
                    <a:cubicBezTo>
                      <a:pt x="174" y="154"/>
                      <a:pt x="212" y="158"/>
                      <a:pt x="209" y="163"/>
                    </a:cubicBezTo>
                    <a:cubicBezTo>
                      <a:pt x="208" y="164"/>
                      <a:pt x="193" y="164"/>
                      <a:pt x="189" y="163"/>
                    </a:cubicBezTo>
                    <a:cubicBezTo>
                      <a:pt x="187" y="162"/>
                      <a:pt x="183" y="144"/>
                      <a:pt x="183" y="144"/>
                    </a:cubicBezTo>
                    <a:cubicBezTo>
                      <a:pt x="179" y="138"/>
                      <a:pt x="163" y="142"/>
                      <a:pt x="157" y="137"/>
                    </a:cubicBezTo>
                    <a:cubicBezTo>
                      <a:pt x="145" y="128"/>
                      <a:pt x="157" y="130"/>
                      <a:pt x="157" y="119"/>
                    </a:cubicBezTo>
                    <a:cubicBezTo>
                      <a:pt x="157" y="116"/>
                      <a:pt x="150" y="123"/>
                      <a:pt x="147" y="125"/>
                    </a:cubicBezTo>
                    <a:cubicBezTo>
                      <a:pt x="144" y="128"/>
                      <a:pt x="140" y="130"/>
                      <a:pt x="139" y="134"/>
                    </a:cubicBezTo>
                    <a:cubicBezTo>
                      <a:pt x="139" y="137"/>
                      <a:pt x="144" y="138"/>
                      <a:pt x="145" y="141"/>
                    </a:cubicBezTo>
                    <a:cubicBezTo>
                      <a:pt x="141" y="158"/>
                      <a:pt x="141" y="158"/>
                      <a:pt x="141" y="158"/>
                    </a:cubicBezTo>
                    <a:cubicBezTo>
                      <a:pt x="143" y="168"/>
                      <a:pt x="156" y="173"/>
                      <a:pt x="162" y="180"/>
                    </a:cubicBezTo>
                    <a:cubicBezTo>
                      <a:pt x="169" y="195"/>
                      <a:pt x="169" y="195"/>
                      <a:pt x="169" y="195"/>
                    </a:cubicBezTo>
                    <a:cubicBezTo>
                      <a:pt x="173" y="199"/>
                      <a:pt x="202" y="213"/>
                      <a:pt x="197" y="220"/>
                    </a:cubicBezTo>
                    <a:cubicBezTo>
                      <a:pt x="196" y="222"/>
                      <a:pt x="174" y="210"/>
                      <a:pt x="173" y="211"/>
                    </a:cubicBezTo>
                    <a:cubicBezTo>
                      <a:pt x="171" y="211"/>
                      <a:pt x="173" y="214"/>
                      <a:pt x="173" y="216"/>
                    </a:cubicBezTo>
                    <a:cubicBezTo>
                      <a:pt x="171" y="220"/>
                      <a:pt x="165" y="228"/>
                      <a:pt x="169" y="228"/>
                    </a:cubicBezTo>
                    <a:cubicBezTo>
                      <a:pt x="170" y="227"/>
                      <a:pt x="170" y="224"/>
                      <a:pt x="171" y="225"/>
                    </a:cubicBezTo>
                    <a:cubicBezTo>
                      <a:pt x="173" y="225"/>
                      <a:pt x="172" y="228"/>
                      <a:pt x="174" y="229"/>
                    </a:cubicBezTo>
                    <a:cubicBezTo>
                      <a:pt x="178" y="232"/>
                      <a:pt x="190" y="232"/>
                      <a:pt x="180" y="241"/>
                    </a:cubicBezTo>
                    <a:cubicBezTo>
                      <a:pt x="173" y="248"/>
                      <a:pt x="165" y="248"/>
                      <a:pt x="154" y="253"/>
                    </a:cubicBezTo>
                    <a:cubicBezTo>
                      <a:pt x="152" y="253"/>
                      <a:pt x="157" y="255"/>
                      <a:pt x="159" y="254"/>
                    </a:cubicBezTo>
                    <a:cubicBezTo>
                      <a:pt x="161" y="254"/>
                      <a:pt x="162" y="251"/>
                      <a:pt x="164" y="251"/>
                    </a:cubicBezTo>
                    <a:cubicBezTo>
                      <a:pt x="166" y="251"/>
                      <a:pt x="166" y="254"/>
                      <a:pt x="168" y="255"/>
                    </a:cubicBezTo>
                    <a:cubicBezTo>
                      <a:pt x="169" y="256"/>
                      <a:pt x="170" y="255"/>
                      <a:pt x="171" y="254"/>
                    </a:cubicBezTo>
                    <a:cubicBezTo>
                      <a:pt x="176" y="254"/>
                      <a:pt x="180" y="253"/>
                      <a:pt x="184" y="255"/>
                    </a:cubicBezTo>
                    <a:cubicBezTo>
                      <a:pt x="188" y="256"/>
                      <a:pt x="187" y="262"/>
                      <a:pt x="191" y="262"/>
                    </a:cubicBezTo>
                    <a:cubicBezTo>
                      <a:pt x="195" y="263"/>
                      <a:pt x="199" y="257"/>
                      <a:pt x="202" y="259"/>
                    </a:cubicBezTo>
                    <a:cubicBezTo>
                      <a:pt x="205" y="261"/>
                      <a:pt x="201" y="268"/>
                      <a:pt x="205" y="270"/>
                    </a:cubicBezTo>
                    <a:cubicBezTo>
                      <a:pt x="209" y="272"/>
                      <a:pt x="215" y="265"/>
                      <a:pt x="219" y="267"/>
                    </a:cubicBezTo>
                    <a:cubicBezTo>
                      <a:pt x="221" y="268"/>
                      <a:pt x="219" y="278"/>
                      <a:pt x="228" y="278"/>
                    </a:cubicBezTo>
                    <a:cubicBezTo>
                      <a:pt x="239" y="279"/>
                      <a:pt x="243" y="275"/>
                      <a:pt x="251" y="284"/>
                    </a:cubicBezTo>
                    <a:cubicBezTo>
                      <a:pt x="257" y="291"/>
                      <a:pt x="247" y="288"/>
                      <a:pt x="247" y="292"/>
                    </a:cubicBezTo>
                    <a:cubicBezTo>
                      <a:pt x="247" y="295"/>
                      <a:pt x="251" y="296"/>
                      <a:pt x="251" y="298"/>
                    </a:cubicBezTo>
                    <a:cubicBezTo>
                      <a:pt x="252" y="301"/>
                      <a:pt x="251" y="305"/>
                      <a:pt x="252" y="307"/>
                    </a:cubicBezTo>
                    <a:cubicBezTo>
                      <a:pt x="255" y="312"/>
                      <a:pt x="262" y="314"/>
                      <a:pt x="256" y="324"/>
                    </a:cubicBezTo>
                    <a:cubicBezTo>
                      <a:pt x="255" y="326"/>
                      <a:pt x="252" y="325"/>
                      <a:pt x="251" y="324"/>
                    </a:cubicBezTo>
                    <a:cubicBezTo>
                      <a:pt x="249" y="323"/>
                      <a:pt x="251" y="321"/>
                      <a:pt x="250" y="320"/>
                    </a:cubicBezTo>
                    <a:cubicBezTo>
                      <a:pt x="249" y="319"/>
                      <a:pt x="243" y="314"/>
                      <a:pt x="242" y="314"/>
                    </a:cubicBezTo>
                    <a:cubicBezTo>
                      <a:pt x="241" y="314"/>
                      <a:pt x="240" y="317"/>
                      <a:pt x="239" y="316"/>
                    </a:cubicBezTo>
                    <a:cubicBezTo>
                      <a:pt x="235" y="313"/>
                      <a:pt x="229" y="302"/>
                      <a:pt x="223" y="300"/>
                    </a:cubicBezTo>
                    <a:cubicBezTo>
                      <a:pt x="216" y="298"/>
                      <a:pt x="220" y="306"/>
                      <a:pt x="216" y="308"/>
                    </a:cubicBezTo>
                    <a:cubicBezTo>
                      <a:pt x="209" y="310"/>
                      <a:pt x="190" y="315"/>
                      <a:pt x="192" y="318"/>
                    </a:cubicBezTo>
                    <a:cubicBezTo>
                      <a:pt x="193" y="322"/>
                      <a:pt x="200" y="321"/>
                      <a:pt x="204" y="322"/>
                    </a:cubicBezTo>
                    <a:cubicBezTo>
                      <a:pt x="206" y="323"/>
                      <a:pt x="201" y="324"/>
                      <a:pt x="201" y="326"/>
                    </a:cubicBezTo>
                    <a:cubicBezTo>
                      <a:pt x="201" y="327"/>
                      <a:pt x="204" y="327"/>
                      <a:pt x="204" y="328"/>
                    </a:cubicBezTo>
                    <a:cubicBezTo>
                      <a:pt x="205" y="331"/>
                      <a:pt x="204" y="334"/>
                      <a:pt x="205" y="336"/>
                    </a:cubicBezTo>
                    <a:cubicBezTo>
                      <a:pt x="212" y="342"/>
                      <a:pt x="222" y="339"/>
                      <a:pt x="228" y="345"/>
                    </a:cubicBezTo>
                    <a:cubicBezTo>
                      <a:pt x="231" y="349"/>
                      <a:pt x="219" y="351"/>
                      <a:pt x="214" y="351"/>
                    </a:cubicBezTo>
                    <a:cubicBezTo>
                      <a:pt x="206" y="351"/>
                      <a:pt x="200" y="351"/>
                      <a:pt x="197" y="350"/>
                    </a:cubicBezTo>
                    <a:cubicBezTo>
                      <a:pt x="196" y="349"/>
                      <a:pt x="197" y="347"/>
                      <a:pt x="196" y="345"/>
                    </a:cubicBezTo>
                    <a:cubicBezTo>
                      <a:pt x="195" y="344"/>
                      <a:pt x="193" y="344"/>
                      <a:pt x="193" y="344"/>
                    </a:cubicBezTo>
                    <a:cubicBezTo>
                      <a:pt x="188" y="344"/>
                      <a:pt x="182" y="341"/>
                      <a:pt x="179" y="344"/>
                    </a:cubicBezTo>
                    <a:cubicBezTo>
                      <a:pt x="175" y="351"/>
                      <a:pt x="193" y="365"/>
                      <a:pt x="196" y="369"/>
                    </a:cubicBezTo>
                    <a:cubicBezTo>
                      <a:pt x="196" y="371"/>
                      <a:pt x="195" y="373"/>
                      <a:pt x="195" y="375"/>
                    </a:cubicBezTo>
                    <a:cubicBezTo>
                      <a:pt x="196" y="377"/>
                      <a:pt x="200" y="375"/>
                      <a:pt x="201" y="377"/>
                    </a:cubicBezTo>
                    <a:cubicBezTo>
                      <a:pt x="203" y="381"/>
                      <a:pt x="210" y="393"/>
                      <a:pt x="212" y="398"/>
                    </a:cubicBezTo>
                    <a:cubicBezTo>
                      <a:pt x="214" y="403"/>
                      <a:pt x="208" y="400"/>
                      <a:pt x="208" y="401"/>
                    </a:cubicBezTo>
                    <a:cubicBezTo>
                      <a:pt x="208" y="403"/>
                      <a:pt x="210" y="404"/>
                      <a:pt x="210" y="405"/>
                    </a:cubicBezTo>
                    <a:cubicBezTo>
                      <a:pt x="210" y="406"/>
                      <a:pt x="208" y="408"/>
                      <a:pt x="209" y="409"/>
                    </a:cubicBezTo>
                    <a:cubicBezTo>
                      <a:pt x="209" y="410"/>
                      <a:pt x="222" y="417"/>
                      <a:pt x="221" y="422"/>
                    </a:cubicBezTo>
                    <a:cubicBezTo>
                      <a:pt x="220" y="424"/>
                      <a:pt x="216" y="424"/>
                      <a:pt x="214" y="423"/>
                    </a:cubicBezTo>
                    <a:cubicBezTo>
                      <a:pt x="212" y="422"/>
                      <a:pt x="213" y="418"/>
                      <a:pt x="211" y="417"/>
                    </a:cubicBezTo>
                    <a:cubicBezTo>
                      <a:pt x="210" y="416"/>
                      <a:pt x="208" y="419"/>
                      <a:pt x="206" y="418"/>
                    </a:cubicBezTo>
                    <a:cubicBezTo>
                      <a:pt x="196" y="411"/>
                      <a:pt x="192" y="388"/>
                      <a:pt x="178" y="408"/>
                    </a:cubicBezTo>
                    <a:cubicBezTo>
                      <a:pt x="178" y="409"/>
                      <a:pt x="179" y="421"/>
                      <a:pt x="180" y="427"/>
                    </a:cubicBezTo>
                    <a:cubicBezTo>
                      <a:pt x="180" y="429"/>
                      <a:pt x="180" y="433"/>
                      <a:pt x="179" y="433"/>
                    </a:cubicBezTo>
                    <a:cubicBezTo>
                      <a:pt x="165" y="431"/>
                      <a:pt x="174" y="417"/>
                      <a:pt x="169" y="411"/>
                    </a:cubicBezTo>
                    <a:cubicBezTo>
                      <a:pt x="169" y="410"/>
                      <a:pt x="167" y="411"/>
                      <a:pt x="166" y="410"/>
                    </a:cubicBezTo>
                    <a:cubicBezTo>
                      <a:pt x="163" y="407"/>
                      <a:pt x="161" y="403"/>
                      <a:pt x="158" y="399"/>
                    </a:cubicBezTo>
                    <a:cubicBezTo>
                      <a:pt x="157" y="396"/>
                      <a:pt x="156" y="391"/>
                      <a:pt x="152" y="390"/>
                    </a:cubicBezTo>
                    <a:cubicBezTo>
                      <a:pt x="125" y="384"/>
                      <a:pt x="149" y="410"/>
                      <a:pt x="140" y="414"/>
                    </a:cubicBezTo>
                    <a:cubicBezTo>
                      <a:pt x="123" y="422"/>
                      <a:pt x="128" y="403"/>
                      <a:pt x="127" y="399"/>
                    </a:cubicBezTo>
                    <a:cubicBezTo>
                      <a:pt x="127" y="398"/>
                      <a:pt x="126" y="398"/>
                      <a:pt x="125" y="398"/>
                    </a:cubicBezTo>
                    <a:cubicBezTo>
                      <a:pt x="120" y="399"/>
                      <a:pt x="117" y="392"/>
                      <a:pt x="116" y="386"/>
                    </a:cubicBezTo>
                    <a:cubicBezTo>
                      <a:pt x="115" y="377"/>
                      <a:pt x="122" y="387"/>
                      <a:pt x="123" y="374"/>
                    </a:cubicBezTo>
                    <a:cubicBezTo>
                      <a:pt x="123" y="365"/>
                      <a:pt x="109" y="353"/>
                      <a:pt x="101" y="351"/>
                    </a:cubicBezTo>
                    <a:cubicBezTo>
                      <a:pt x="100" y="351"/>
                      <a:pt x="98" y="354"/>
                      <a:pt x="97" y="353"/>
                    </a:cubicBezTo>
                    <a:cubicBezTo>
                      <a:pt x="94" y="350"/>
                      <a:pt x="97" y="345"/>
                      <a:pt x="94" y="342"/>
                    </a:cubicBezTo>
                    <a:cubicBezTo>
                      <a:pt x="90" y="339"/>
                      <a:pt x="75" y="343"/>
                      <a:pt x="83" y="332"/>
                    </a:cubicBezTo>
                    <a:cubicBezTo>
                      <a:pt x="84" y="332"/>
                      <a:pt x="86" y="333"/>
                      <a:pt x="86" y="332"/>
                    </a:cubicBezTo>
                    <a:cubicBezTo>
                      <a:pt x="96" y="326"/>
                      <a:pt x="91" y="321"/>
                      <a:pt x="94" y="310"/>
                    </a:cubicBezTo>
                    <a:cubicBezTo>
                      <a:pt x="94" y="309"/>
                      <a:pt x="95" y="312"/>
                      <a:pt x="96" y="312"/>
                    </a:cubicBezTo>
                    <a:cubicBezTo>
                      <a:pt x="97" y="312"/>
                      <a:pt x="95" y="310"/>
                      <a:pt x="96" y="310"/>
                    </a:cubicBezTo>
                    <a:cubicBezTo>
                      <a:pt x="101" y="310"/>
                      <a:pt x="107" y="315"/>
                      <a:pt x="111" y="311"/>
                    </a:cubicBezTo>
                    <a:cubicBezTo>
                      <a:pt x="118" y="305"/>
                      <a:pt x="109" y="304"/>
                      <a:pt x="120" y="297"/>
                    </a:cubicBezTo>
                    <a:cubicBezTo>
                      <a:pt x="128" y="292"/>
                      <a:pt x="134" y="300"/>
                      <a:pt x="140" y="302"/>
                    </a:cubicBezTo>
                    <a:cubicBezTo>
                      <a:pt x="149" y="306"/>
                      <a:pt x="160" y="305"/>
                      <a:pt x="170" y="308"/>
                    </a:cubicBezTo>
                    <a:cubicBezTo>
                      <a:pt x="175" y="309"/>
                      <a:pt x="179" y="315"/>
                      <a:pt x="184" y="316"/>
                    </a:cubicBezTo>
                    <a:cubicBezTo>
                      <a:pt x="187" y="317"/>
                      <a:pt x="191" y="314"/>
                      <a:pt x="191" y="311"/>
                    </a:cubicBezTo>
                    <a:cubicBezTo>
                      <a:pt x="189" y="309"/>
                      <a:pt x="183" y="311"/>
                      <a:pt x="182" y="309"/>
                    </a:cubicBezTo>
                    <a:cubicBezTo>
                      <a:pt x="176" y="296"/>
                      <a:pt x="196" y="315"/>
                      <a:pt x="203" y="296"/>
                    </a:cubicBezTo>
                    <a:cubicBezTo>
                      <a:pt x="204" y="295"/>
                      <a:pt x="199" y="297"/>
                      <a:pt x="197" y="296"/>
                    </a:cubicBezTo>
                    <a:cubicBezTo>
                      <a:pt x="196" y="296"/>
                      <a:pt x="197" y="293"/>
                      <a:pt x="196" y="293"/>
                    </a:cubicBezTo>
                    <a:cubicBezTo>
                      <a:pt x="195" y="293"/>
                      <a:pt x="194" y="300"/>
                      <a:pt x="191" y="296"/>
                    </a:cubicBezTo>
                    <a:cubicBezTo>
                      <a:pt x="187" y="291"/>
                      <a:pt x="183" y="298"/>
                      <a:pt x="176" y="295"/>
                    </a:cubicBezTo>
                    <a:cubicBezTo>
                      <a:pt x="172" y="293"/>
                      <a:pt x="171" y="286"/>
                      <a:pt x="166" y="285"/>
                    </a:cubicBezTo>
                    <a:cubicBezTo>
                      <a:pt x="163" y="285"/>
                      <a:pt x="165" y="294"/>
                      <a:pt x="162" y="294"/>
                    </a:cubicBezTo>
                    <a:cubicBezTo>
                      <a:pt x="152" y="293"/>
                      <a:pt x="158" y="270"/>
                      <a:pt x="151" y="283"/>
                    </a:cubicBezTo>
                    <a:cubicBezTo>
                      <a:pt x="150" y="285"/>
                      <a:pt x="154" y="290"/>
                      <a:pt x="152" y="292"/>
                    </a:cubicBezTo>
                    <a:cubicBezTo>
                      <a:pt x="148" y="296"/>
                      <a:pt x="130" y="288"/>
                      <a:pt x="126" y="290"/>
                    </a:cubicBezTo>
                    <a:cubicBezTo>
                      <a:pt x="118" y="293"/>
                      <a:pt x="113" y="300"/>
                      <a:pt x="102" y="302"/>
                    </a:cubicBezTo>
                    <a:cubicBezTo>
                      <a:pt x="96" y="304"/>
                      <a:pt x="94" y="295"/>
                      <a:pt x="90" y="293"/>
                    </a:cubicBezTo>
                    <a:cubicBezTo>
                      <a:pt x="89" y="292"/>
                      <a:pt x="91" y="297"/>
                      <a:pt x="90" y="298"/>
                    </a:cubicBezTo>
                    <a:cubicBezTo>
                      <a:pt x="88" y="301"/>
                      <a:pt x="84" y="304"/>
                      <a:pt x="80" y="306"/>
                    </a:cubicBezTo>
                    <a:cubicBezTo>
                      <a:pt x="79" y="306"/>
                      <a:pt x="80" y="304"/>
                      <a:pt x="79" y="304"/>
                    </a:cubicBezTo>
                    <a:cubicBezTo>
                      <a:pt x="73" y="301"/>
                      <a:pt x="79" y="296"/>
                      <a:pt x="75" y="289"/>
                    </a:cubicBezTo>
                    <a:cubicBezTo>
                      <a:pt x="73" y="286"/>
                      <a:pt x="70" y="283"/>
                      <a:pt x="67" y="280"/>
                    </a:cubicBezTo>
                    <a:cubicBezTo>
                      <a:pt x="66" y="280"/>
                      <a:pt x="64" y="282"/>
                      <a:pt x="63" y="281"/>
                    </a:cubicBezTo>
                    <a:cubicBezTo>
                      <a:pt x="60" y="279"/>
                      <a:pt x="62" y="274"/>
                      <a:pt x="59" y="272"/>
                    </a:cubicBezTo>
                    <a:cubicBezTo>
                      <a:pt x="53" y="268"/>
                      <a:pt x="43" y="283"/>
                      <a:pt x="51" y="262"/>
                    </a:cubicBezTo>
                    <a:cubicBezTo>
                      <a:pt x="50" y="262"/>
                      <a:pt x="49" y="261"/>
                      <a:pt x="47" y="260"/>
                    </a:cubicBezTo>
                    <a:cubicBezTo>
                      <a:pt x="46" y="258"/>
                      <a:pt x="47" y="255"/>
                      <a:pt x="46" y="254"/>
                    </a:cubicBezTo>
                    <a:cubicBezTo>
                      <a:pt x="40" y="246"/>
                      <a:pt x="24" y="239"/>
                      <a:pt x="17" y="233"/>
                    </a:cubicBezTo>
                    <a:cubicBezTo>
                      <a:pt x="15" y="232"/>
                      <a:pt x="18" y="226"/>
                      <a:pt x="16" y="224"/>
                    </a:cubicBezTo>
                    <a:cubicBezTo>
                      <a:pt x="15" y="223"/>
                      <a:pt x="6" y="229"/>
                      <a:pt x="0" y="215"/>
                    </a:cubicBezTo>
                    <a:cubicBezTo>
                      <a:pt x="1" y="215"/>
                      <a:pt x="1" y="215"/>
                      <a:pt x="2" y="214"/>
                    </a:cubicBezTo>
                    <a:cubicBezTo>
                      <a:pt x="2" y="214"/>
                      <a:pt x="1" y="213"/>
                      <a:pt x="2" y="213"/>
                    </a:cubicBezTo>
                    <a:cubicBezTo>
                      <a:pt x="11" y="211"/>
                      <a:pt x="17" y="219"/>
                      <a:pt x="17" y="205"/>
                    </a:cubicBezTo>
                    <a:cubicBezTo>
                      <a:pt x="17" y="201"/>
                      <a:pt x="25" y="206"/>
                      <a:pt x="23" y="201"/>
                    </a:cubicBezTo>
                    <a:cubicBezTo>
                      <a:pt x="16" y="190"/>
                      <a:pt x="16" y="190"/>
                      <a:pt x="16" y="190"/>
                    </a:cubicBezTo>
                    <a:cubicBezTo>
                      <a:pt x="16" y="186"/>
                      <a:pt x="34" y="180"/>
                      <a:pt x="35" y="179"/>
                    </a:cubicBezTo>
                    <a:cubicBezTo>
                      <a:pt x="35" y="178"/>
                      <a:pt x="38" y="155"/>
                      <a:pt x="38" y="155"/>
                    </a:cubicBezTo>
                    <a:cubicBezTo>
                      <a:pt x="42" y="140"/>
                      <a:pt x="46" y="159"/>
                      <a:pt x="51" y="137"/>
                    </a:cubicBezTo>
                    <a:cubicBezTo>
                      <a:pt x="53" y="130"/>
                      <a:pt x="45" y="128"/>
                      <a:pt x="45" y="121"/>
                    </a:cubicBezTo>
                    <a:cubicBezTo>
                      <a:pt x="49" y="121"/>
                      <a:pt x="87" y="109"/>
                      <a:pt x="89" y="108"/>
                    </a:cubicBezTo>
                    <a:cubicBezTo>
                      <a:pt x="96" y="101"/>
                      <a:pt x="91" y="92"/>
                      <a:pt x="102" y="88"/>
                    </a:cubicBezTo>
                    <a:cubicBezTo>
                      <a:pt x="106" y="86"/>
                      <a:pt x="128" y="89"/>
                      <a:pt x="132" y="87"/>
                    </a:cubicBezTo>
                    <a:cubicBezTo>
                      <a:pt x="133" y="86"/>
                      <a:pt x="133" y="82"/>
                      <a:pt x="135" y="81"/>
                    </a:cubicBezTo>
                    <a:cubicBezTo>
                      <a:pt x="136" y="81"/>
                      <a:pt x="137" y="84"/>
                      <a:pt x="139" y="83"/>
                    </a:cubicBezTo>
                    <a:cubicBezTo>
                      <a:pt x="145" y="78"/>
                      <a:pt x="130" y="69"/>
                      <a:pt x="148" y="66"/>
                    </a:cubicBezTo>
                    <a:cubicBezTo>
                      <a:pt x="148" y="66"/>
                      <a:pt x="148" y="68"/>
                      <a:pt x="148" y="68"/>
                    </a:cubicBezTo>
                    <a:cubicBezTo>
                      <a:pt x="149" y="66"/>
                      <a:pt x="149" y="63"/>
                      <a:pt x="149" y="59"/>
                    </a:cubicBezTo>
                    <a:cubicBezTo>
                      <a:pt x="149" y="61"/>
                      <a:pt x="149" y="64"/>
                      <a:pt x="149" y="66"/>
                    </a:cubicBezTo>
                    <a:cubicBezTo>
                      <a:pt x="148" y="66"/>
                      <a:pt x="148" y="66"/>
                      <a:pt x="148" y="66"/>
                    </a:cubicBezTo>
                    <a:cubicBezTo>
                      <a:pt x="150" y="66"/>
                      <a:pt x="153" y="66"/>
                      <a:pt x="156" y="66"/>
                    </a:cubicBezTo>
                    <a:cubicBezTo>
                      <a:pt x="158" y="66"/>
                      <a:pt x="161" y="68"/>
                      <a:pt x="162" y="66"/>
                    </a:cubicBezTo>
                    <a:cubicBezTo>
                      <a:pt x="165" y="65"/>
                      <a:pt x="165" y="60"/>
                      <a:pt x="167" y="59"/>
                    </a:cubicBezTo>
                    <a:cubicBezTo>
                      <a:pt x="173" y="55"/>
                      <a:pt x="182" y="57"/>
                      <a:pt x="188" y="55"/>
                    </a:cubicBezTo>
                    <a:cubicBezTo>
                      <a:pt x="204" y="50"/>
                      <a:pt x="208" y="43"/>
                      <a:pt x="218" y="37"/>
                    </a:cubicBezTo>
                    <a:cubicBezTo>
                      <a:pt x="220" y="35"/>
                      <a:pt x="223" y="40"/>
                      <a:pt x="225" y="39"/>
                    </a:cubicBezTo>
                    <a:cubicBezTo>
                      <a:pt x="229" y="38"/>
                      <a:pt x="230" y="33"/>
                      <a:pt x="234" y="34"/>
                    </a:cubicBezTo>
                    <a:cubicBezTo>
                      <a:pt x="238" y="34"/>
                      <a:pt x="239" y="40"/>
                      <a:pt x="243" y="43"/>
                    </a:cubicBezTo>
                    <a:cubicBezTo>
                      <a:pt x="244" y="44"/>
                      <a:pt x="245" y="42"/>
                      <a:pt x="247" y="42"/>
                    </a:cubicBezTo>
                    <a:cubicBezTo>
                      <a:pt x="248" y="43"/>
                      <a:pt x="249" y="47"/>
                      <a:pt x="251" y="46"/>
                    </a:cubicBezTo>
                    <a:cubicBezTo>
                      <a:pt x="253" y="46"/>
                      <a:pt x="253" y="41"/>
                      <a:pt x="256" y="40"/>
                    </a:cubicBezTo>
                    <a:cubicBezTo>
                      <a:pt x="262" y="39"/>
                      <a:pt x="269" y="42"/>
                      <a:pt x="275" y="45"/>
                    </a:cubicBezTo>
                    <a:cubicBezTo>
                      <a:pt x="276" y="46"/>
                      <a:pt x="275" y="48"/>
                      <a:pt x="277" y="48"/>
                    </a:cubicBezTo>
                    <a:cubicBezTo>
                      <a:pt x="285" y="49"/>
                      <a:pt x="297" y="39"/>
                      <a:pt x="305" y="37"/>
                    </a:cubicBezTo>
                    <a:close/>
                    <a:moveTo>
                      <a:pt x="75" y="255"/>
                    </a:moveTo>
                    <a:cubicBezTo>
                      <a:pt x="81" y="243"/>
                      <a:pt x="64" y="257"/>
                      <a:pt x="64" y="256"/>
                    </a:cubicBezTo>
                    <a:cubicBezTo>
                      <a:pt x="60" y="254"/>
                      <a:pt x="57" y="247"/>
                      <a:pt x="53" y="249"/>
                    </a:cubicBezTo>
                    <a:cubicBezTo>
                      <a:pt x="52" y="249"/>
                      <a:pt x="56" y="258"/>
                      <a:pt x="55" y="261"/>
                    </a:cubicBezTo>
                    <a:cubicBezTo>
                      <a:pt x="61" y="261"/>
                      <a:pt x="71" y="261"/>
                      <a:pt x="75" y="255"/>
                    </a:cubicBezTo>
                    <a:close/>
                    <a:moveTo>
                      <a:pt x="65" y="323"/>
                    </a:moveTo>
                    <a:cubicBezTo>
                      <a:pt x="60" y="327"/>
                      <a:pt x="59" y="321"/>
                      <a:pt x="55" y="321"/>
                    </a:cubicBezTo>
                    <a:cubicBezTo>
                      <a:pt x="53" y="321"/>
                      <a:pt x="50" y="323"/>
                      <a:pt x="48" y="323"/>
                    </a:cubicBezTo>
                    <a:cubicBezTo>
                      <a:pt x="44" y="322"/>
                      <a:pt x="46" y="309"/>
                      <a:pt x="42" y="311"/>
                    </a:cubicBezTo>
                    <a:cubicBezTo>
                      <a:pt x="41" y="313"/>
                      <a:pt x="43" y="317"/>
                      <a:pt x="42" y="319"/>
                    </a:cubicBezTo>
                    <a:cubicBezTo>
                      <a:pt x="38" y="328"/>
                      <a:pt x="35" y="312"/>
                      <a:pt x="47" y="296"/>
                    </a:cubicBezTo>
                    <a:cubicBezTo>
                      <a:pt x="49" y="298"/>
                      <a:pt x="51" y="301"/>
                      <a:pt x="53" y="305"/>
                    </a:cubicBezTo>
                    <a:cubicBezTo>
                      <a:pt x="53" y="305"/>
                      <a:pt x="51" y="310"/>
                      <a:pt x="54" y="311"/>
                    </a:cubicBezTo>
                    <a:cubicBezTo>
                      <a:pt x="57" y="311"/>
                      <a:pt x="71" y="318"/>
                      <a:pt x="65" y="323"/>
                    </a:cubicBezTo>
                    <a:close/>
                    <a:moveTo>
                      <a:pt x="259" y="275"/>
                    </a:moveTo>
                    <a:cubicBezTo>
                      <a:pt x="256" y="271"/>
                      <a:pt x="252" y="268"/>
                      <a:pt x="247" y="267"/>
                    </a:cubicBezTo>
                    <a:cubicBezTo>
                      <a:pt x="240" y="265"/>
                      <a:pt x="231" y="275"/>
                      <a:pt x="223" y="268"/>
                    </a:cubicBezTo>
                    <a:cubicBezTo>
                      <a:pt x="222" y="266"/>
                      <a:pt x="226" y="264"/>
                      <a:pt x="225" y="262"/>
                    </a:cubicBezTo>
                    <a:cubicBezTo>
                      <a:pt x="223" y="257"/>
                      <a:pt x="189" y="241"/>
                      <a:pt x="183" y="242"/>
                    </a:cubicBezTo>
                    <a:cubicBezTo>
                      <a:pt x="180" y="244"/>
                      <a:pt x="178" y="248"/>
                      <a:pt x="175" y="249"/>
                    </a:cubicBezTo>
                    <a:cubicBezTo>
                      <a:pt x="174" y="250"/>
                      <a:pt x="176" y="246"/>
                      <a:pt x="178" y="245"/>
                    </a:cubicBezTo>
                    <a:cubicBezTo>
                      <a:pt x="179" y="243"/>
                      <a:pt x="182" y="241"/>
                      <a:pt x="183" y="240"/>
                    </a:cubicBezTo>
                    <a:cubicBezTo>
                      <a:pt x="186" y="237"/>
                      <a:pt x="187" y="236"/>
                      <a:pt x="189" y="234"/>
                    </a:cubicBezTo>
                    <a:cubicBezTo>
                      <a:pt x="193" y="232"/>
                      <a:pt x="196" y="230"/>
                      <a:pt x="200" y="228"/>
                    </a:cubicBezTo>
                    <a:cubicBezTo>
                      <a:pt x="209" y="233"/>
                      <a:pt x="208" y="239"/>
                      <a:pt x="218" y="244"/>
                    </a:cubicBezTo>
                    <a:cubicBezTo>
                      <a:pt x="219" y="245"/>
                      <a:pt x="222" y="245"/>
                      <a:pt x="224" y="245"/>
                    </a:cubicBezTo>
                    <a:cubicBezTo>
                      <a:pt x="225" y="245"/>
                      <a:pt x="226" y="243"/>
                      <a:pt x="227" y="244"/>
                    </a:cubicBezTo>
                    <a:cubicBezTo>
                      <a:pt x="230" y="245"/>
                      <a:pt x="232" y="248"/>
                      <a:pt x="235" y="249"/>
                    </a:cubicBezTo>
                    <a:cubicBezTo>
                      <a:pt x="239" y="250"/>
                      <a:pt x="251" y="243"/>
                      <a:pt x="253" y="247"/>
                    </a:cubicBezTo>
                    <a:cubicBezTo>
                      <a:pt x="253" y="248"/>
                      <a:pt x="252" y="248"/>
                      <a:pt x="252" y="249"/>
                    </a:cubicBezTo>
                    <a:cubicBezTo>
                      <a:pt x="252" y="249"/>
                      <a:pt x="251" y="250"/>
                      <a:pt x="252" y="251"/>
                    </a:cubicBezTo>
                    <a:cubicBezTo>
                      <a:pt x="254" y="253"/>
                      <a:pt x="258" y="253"/>
                      <a:pt x="260" y="256"/>
                    </a:cubicBezTo>
                    <a:cubicBezTo>
                      <a:pt x="260" y="257"/>
                      <a:pt x="259" y="274"/>
                      <a:pt x="264" y="278"/>
                    </a:cubicBezTo>
                    <a:cubicBezTo>
                      <a:pt x="270" y="282"/>
                      <a:pt x="296" y="274"/>
                      <a:pt x="286" y="291"/>
                    </a:cubicBezTo>
                    <a:cubicBezTo>
                      <a:pt x="280" y="300"/>
                      <a:pt x="265" y="288"/>
                      <a:pt x="261" y="284"/>
                    </a:cubicBezTo>
                    <a:cubicBezTo>
                      <a:pt x="261" y="283"/>
                      <a:pt x="263" y="283"/>
                      <a:pt x="263" y="282"/>
                    </a:cubicBezTo>
                    <a:cubicBezTo>
                      <a:pt x="262" y="280"/>
                      <a:pt x="261" y="278"/>
                      <a:pt x="259" y="277"/>
                    </a:cubicBezTo>
                    <a:cubicBezTo>
                      <a:pt x="258" y="277"/>
                      <a:pt x="257" y="280"/>
                      <a:pt x="256" y="279"/>
                    </a:cubicBezTo>
                    <a:cubicBezTo>
                      <a:pt x="256" y="278"/>
                      <a:pt x="260" y="276"/>
                      <a:pt x="259" y="275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99" name="Finland"/>
              <p:cNvSpPr>
                <a:spLocks/>
              </p:cNvSpPr>
              <p:nvPr/>
            </p:nvSpPr>
            <p:spPr bwMode="auto">
              <a:xfrm>
                <a:off x="5572582" y="1905173"/>
                <a:ext cx="718272" cy="1401740"/>
              </a:xfrm>
              <a:custGeom>
                <a:avLst/>
                <a:gdLst>
                  <a:gd name="T0" fmla="*/ 415 w 430"/>
                  <a:gd name="T1" fmla="*/ 546 h 779"/>
                  <a:gd name="T2" fmla="*/ 361 w 430"/>
                  <a:gd name="T3" fmla="*/ 436 h 779"/>
                  <a:gd name="T4" fmla="*/ 345 w 430"/>
                  <a:gd name="T5" fmla="*/ 366 h 779"/>
                  <a:gd name="T6" fmla="*/ 313 w 430"/>
                  <a:gd name="T7" fmla="*/ 330 h 779"/>
                  <a:gd name="T8" fmla="*/ 305 w 430"/>
                  <a:gd name="T9" fmla="*/ 271 h 779"/>
                  <a:gd name="T10" fmla="*/ 269 w 430"/>
                  <a:gd name="T11" fmla="*/ 154 h 779"/>
                  <a:gd name="T12" fmla="*/ 222 w 430"/>
                  <a:gd name="T13" fmla="*/ 129 h 779"/>
                  <a:gd name="T14" fmla="*/ 200 w 430"/>
                  <a:gd name="T15" fmla="*/ 80 h 779"/>
                  <a:gd name="T16" fmla="*/ 165 w 430"/>
                  <a:gd name="T17" fmla="*/ 4 h 779"/>
                  <a:gd name="T18" fmla="*/ 162 w 430"/>
                  <a:gd name="T19" fmla="*/ 0 h 779"/>
                  <a:gd name="T20" fmla="*/ 129 w 430"/>
                  <a:gd name="T21" fmla="*/ 21 h 779"/>
                  <a:gd name="T22" fmla="*/ 124 w 430"/>
                  <a:gd name="T23" fmla="*/ 64 h 779"/>
                  <a:gd name="T24" fmla="*/ 130 w 430"/>
                  <a:gd name="T25" fmla="*/ 90 h 779"/>
                  <a:gd name="T26" fmla="*/ 115 w 430"/>
                  <a:gd name="T27" fmla="*/ 128 h 779"/>
                  <a:gd name="T28" fmla="*/ 80 w 430"/>
                  <a:gd name="T29" fmla="*/ 124 h 779"/>
                  <a:gd name="T30" fmla="*/ 44 w 430"/>
                  <a:gd name="T31" fmla="*/ 130 h 779"/>
                  <a:gd name="T32" fmla="*/ 4 w 430"/>
                  <a:gd name="T33" fmla="*/ 106 h 779"/>
                  <a:gd name="T34" fmla="*/ 0 w 430"/>
                  <a:gd name="T35" fmla="*/ 119 h 779"/>
                  <a:gd name="T36" fmla="*/ 39 w 430"/>
                  <a:gd name="T37" fmla="*/ 150 h 779"/>
                  <a:gd name="T38" fmla="*/ 78 w 430"/>
                  <a:gd name="T39" fmla="*/ 168 h 779"/>
                  <a:gd name="T40" fmla="*/ 94 w 430"/>
                  <a:gd name="T41" fmla="*/ 207 h 779"/>
                  <a:gd name="T42" fmla="*/ 102 w 430"/>
                  <a:gd name="T43" fmla="*/ 218 h 779"/>
                  <a:gd name="T44" fmla="*/ 115 w 430"/>
                  <a:gd name="T45" fmla="*/ 293 h 779"/>
                  <a:gd name="T46" fmla="*/ 158 w 430"/>
                  <a:gd name="T47" fmla="*/ 342 h 779"/>
                  <a:gd name="T48" fmla="*/ 180 w 430"/>
                  <a:gd name="T49" fmla="*/ 346 h 779"/>
                  <a:gd name="T50" fmla="*/ 183 w 430"/>
                  <a:gd name="T51" fmla="*/ 391 h 779"/>
                  <a:gd name="T52" fmla="*/ 168 w 430"/>
                  <a:gd name="T53" fmla="*/ 403 h 779"/>
                  <a:gd name="T54" fmla="*/ 158 w 430"/>
                  <a:gd name="T55" fmla="*/ 437 h 779"/>
                  <a:gd name="T56" fmla="*/ 152 w 430"/>
                  <a:gd name="T57" fmla="*/ 466 h 779"/>
                  <a:gd name="T58" fmla="*/ 123 w 430"/>
                  <a:gd name="T59" fmla="*/ 495 h 779"/>
                  <a:gd name="T60" fmla="*/ 121 w 430"/>
                  <a:gd name="T61" fmla="*/ 518 h 779"/>
                  <a:gd name="T62" fmla="*/ 107 w 430"/>
                  <a:gd name="T63" fmla="*/ 533 h 779"/>
                  <a:gd name="T64" fmla="*/ 87 w 430"/>
                  <a:gd name="T65" fmla="*/ 572 h 779"/>
                  <a:gd name="T66" fmla="*/ 95 w 430"/>
                  <a:gd name="T67" fmla="*/ 597 h 779"/>
                  <a:gd name="T68" fmla="*/ 100 w 430"/>
                  <a:gd name="T69" fmla="*/ 602 h 779"/>
                  <a:gd name="T70" fmla="*/ 112 w 430"/>
                  <a:gd name="T71" fmla="*/ 641 h 779"/>
                  <a:gd name="T72" fmla="*/ 115 w 430"/>
                  <a:gd name="T73" fmla="*/ 648 h 779"/>
                  <a:gd name="T74" fmla="*/ 114 w 430"/>
                  <a:gd name="T75" fmla="*/ 665 h 779"/>
                  <a:gd name="T76" fmla="*/ 123 w 430"/>
                  <a:gd name="T77" fmla="*/ 684 h 779"/>
                  <a:gd name="T78" fmla="*/ 115 w 430"/>
                  <a:gd name="T79" fmla="*/ 697 h 779"/>
                  <a:gd name="T80" fmla="*/ 125 w 430"/>
                  <a:gd name="T81" fmla="*/ 731 h 779"/>
                  <a:gd name="T82" fmla="*/ 151 w 430"/>
                  <a:gd name="T83" fmla="*/ 735 h 779"/>
                  <a:gd name="T84" fmla="*/ 166 w 430"/>
                  <a:gd name="T85" fmla="*/ 740 h 779"/>
                  <a:gd name="T86" fmla="*/ 171 w 430"/>
                  <a:gd name="T87" fmla="*/ 752 h 779"/>
                  <a:gd name="T88" fmla="*/ 192 w 430"/>
                  <a:gd name="T89" fmla="*/ 760 h 779"/>
                  <a:gd name="T90" fmla="*/ 202 w 430"/>
                  <a:gd name="T91" fmla="*/ 760 h 779"/>
                  <a:gd name="T92" fmla="*/ 189 w 430"/>
                  <a:gd name="T93" fmla="*/ 778 h 779"/>
                  <a:gd name="T94" fmla="*/ 220 w 430"/>
                  <a:gd name="T95" fmla="*/ 761 h 779"/>
                  <a:gd name="T96" fmla="*/ 245 w 430"/>
                  <a:gd name="T97" fmla="*/ 740 h 779"/>
                  <a:gd name="T98" fmla="*/ 259 w 430"/>
                  <a:gd name="T99" fmla="*/ 734 h 779"/>
                  <a:gd name="T100" fmla="*/ 281 w 430"/>
                  <a:gd name="T101" fmla="*/ 716 h 779"/>
                  <a:gd name="T102" fmla="*/ 301 w 430"/>
                  <a:gd name="T103" fmla="*/ 705 h 779"/>
                  <a:gd name="T104" fmla="*/ 317 w 430"/>
                  <a:gd name="T105" fmla="*/ 704 h 779"/>
                  <a:gd name="T106" fmla="*/ 332 w 430"/>
                  <a:gd name="T107" fmla="*/ 692 h 779"/>
                  <a:gd name="T108" fmla="*/ 354 w 430"/>
                  <a:gd name="T109" fmla="*/ 686 h 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30" h="779">
                    <a:moveTo>
                      <a:pt x="353" y="684"/>
                    </a:moveTo>
                    <a:cubicBezTo>
                      <a:pt x="357" y="671"/>
                      <a:pt x="368" y="657"/>
                      <a:pt x="374" y="646"/>
                    </a:cubicBezTo>
                    <a:cubicBezTo>
                      <a:pt x="392" y="615"/>
                      <a:pt x="403" y="579"/>
                      <a:pt x="415" y="546"/>
                    </a:cubicBezTo>
                    <a:cubicBezTo>
                      <a:pt x="424" y="521"/>
                      <a:pt x="426" y="515"/>
                      <a:pt x="428" y="489"/>
                    </a:cubicBezTo>
                    <a:cubicBezTo>
                      <a:pt x="428" y="485"/>
                      <a:pt x="430" y="481"/>
                      <a:pt x="429" y="477"/>
                    </a:cubicBezTo>
                    <a:cubicBezTo>
                      <a:pt x="424" y="464"/>
                      <a:pt x="374" y="445"/>
                      <a:pt x="361" y="436"/>
                    </a:cubicBezTo>
                    <a:cubicBezTo>
                      <a:pt x="359" y="435"/>
                      <a:pt x="379" y="404"/>
                      <a:pt x="365" y="393"/>
                    </a:cubicBezTo>
                    <a:cubicBezTo>
                      <a:pt x="360" y="389"/>
                      <a:pt x="349" y="393"/>
                      <a:pt x="346" y="387"/>
                    </a:cubicBezTo>
                    <a:cubicBezTo>
                      <a:pt x="331" y="362"/>
                      <a:pt x="349" y="374"/>
                      <a:pt x="345" y="366"/>
                    </a:cubicBezTo>
                    <a:cubicBezTo>
                      <a:pt x="338" y="356"/>
                      <a:pt x="331" y="364"/>
                      <a:pt x="322" y="354"/>
                    </a:cubicBezTo>
                    <a:cubicBezTo>
                      <a:pt x="315" y="346"/>
                      <a:pt x="320" y="345"/>
                      <a:pt x="324" y="337"/>
                    </a:cubicBezTo>
                    <a:cubicBezTo>
                      <a:pt x="326" y="332"/>
                      <a:pt x="313" y="332"/>
                      <a:pt x="313" y="330"/>
                    </a:cubicBezTo>
                    <a:cubicBezTo>
                      <a:pt x="313" y="326"/>
                      <a:pt x="313" y="305"/>
                      <a:pt x="313" y="305"/>
                    </a:cubicBezTo>
                    <a:cubicBezTo>
                      <a:pt x="301" y="295"/>
                      <a:pt x="315" y="301"/>
                      <a:pt x="319" y="297"/>
                    </a:cubicBezTo>
                    <a:cubicBezTo>
                      <a:pt x="321" y="293"/>
                      <a:pt x="307" y="273"/>
                      <a:pt x="305" y="271"/>
                    </a:cubicBezTo>
                    <a:cubicBezTo>
                      <a:pt x="296" y="258"/>
                      <a:pt x="285" y="243"/>
                      <a:pt x="274" y="231"/>
                    </a:cubicBezTo>
                    <a:cubicBezTo>
                      <a:pt x="272" y="230"/>
                      <a:pt x="263" y="223"/>
                      <a:pt x="261" y="219"/>
                    </a:cubicBezTo>
                    <a:cubicBezTo>
                      <a:pt x="253" y="204"/>
                      <a:pt x="280" y="163"/>
                      <a:pt x="269" y="154"/>
                    </a:cubicBezTo>
                    <a:cubicBezTo>
                      <a:pt x="266" y="150"/>
                      <a:pt x="261" y="150"/>
                      <a:pt x="258" y="148"/>
                    </a:cubicBezTo>
                    <a:cubicBezTo>
                      <a:pt x="252" y="144"/>
                      <a:pt x="249" y="136"/>
                      <a:pt x="242" y="132"/>
                    </a:cubicBezTo>
                    <a:cubicBezTo>
                      <a:pt x="242" y="132"/>
                      <a:pt x="223" y="129"/>
                      <a:pt x="222" y="129"/>
                    </a:cubicBezTo>
                    <a:cubicBezTo>
                      <a:pt x="219" y="126"/>
                      <a:pt x="218" y="121"/>
                      <a:pt x="215" y="117"/>
                    </a:cubicBezTo>
                    <a:cubicBezTo>
                      <a:pt x="203" y="97"/>
                      <a:pt x="218" y="99"/>
                      <a:pt x="211" y="84"/>
                    </a:cubicBezTo>
                    <a:cubicBezTo>
                      <a:pt x="209" y="77"/>
                      <a:pt x="198" y="84"/>
                      <a:pt x="200" y="80"/>
                    </a:cubicBezTo>
                    <a:cubicBezTo>
                      <a:pt x="203" y="74"/>
                      <a:pt x="207" y="71"/>
                      <a:pt x="210" y="67"/>
                    </a:cubicBezTo>
                    <a:cubicBezTo>
                      <a:pt x="192" y="58"/>
                      <a:pt x="216" y="45"/>
                      <a:pt x="209" y="32"/>
                    </a:cubicBezTo>
                    <a:cubicBezTo>
                      <a:pt x="197" y="12"/>
                      <a:pt x="180" y="20"/>
                      <a:pt x="165" y="4"/>
                    </a:cubicBezTo>
                    <a:cubicBezTo>
                      <a:pt x="164" y="1"/>
                      <a:pt x="164" y="1"/>
                      <a:pt x="164" y="1"/>
                    </a:cubicBezTo>
                    <a:cubicBezTo>
                      <a:pt x="164" y="1"/>
                      <a:pt x="163" y="1"/>
                      <a:pt x="163" y="2"/>
                    </a:cubicBezTo>
                    <a:cubicBezTo>
                      <a:pt x="163" y="1"/>
                      <a:pt x="162" y="1"/>
                      <a:pt x="162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51" y="4"/>
                      <a:pt x="153" y="17"/>
                      <a:pt x="143" y="20"/>
                    </a:cubicBezTo>
                    <a:cubicBezTo>
                      <a:pt x="135" y="22"/>
                      <a:pt x="138" y="10"/>
                      <a:pt x="129" y="21"/>
                    </a:cubicBezTo>
                    <a:cubicBezTo>
                      <a:pt x="128" y="22"/>
                      <a:pt x="129" y="25"/>
                      <a:pt x="128" y="28"/>
                    </a:cubicBezTo>
                    <a:cubicBezTo>
                      <a:pt x="128" y="28"/>
                      <a:pt x="121" y="40"/>
                      <a:pt x="121" y="41"/>
                    </a:cubicBezTo>
                    <a:cubicBezTo>
                      <a:pt x="120" y="45"/>
                      <a:pt x="123" y="60"/>
                      <a:pt x="124" y="64"/>
                    </a:cubicBezTo>
                    <a:cubicBezTo>
                      <a:pt x="124" y="65"/>
                      <a:pt x="123" y="67"/>
                      <a:pt x="123" y="68"/>
                    </a:cubicBezTo>
                    <a:cubicBezTo>
                      <a:pt x="123" y="72"/>
                      <a:pt x="123" y="74"/>
                      <a:pt x="124" y="78"/>
                    </a:cubicBezTo>
                    <a:cubicBezTo>
                      <a:pt x="125" y="82"/>
                      <a:pt x="129" y="86"/>
                      <a:pt x="130" y="90"/>
                    </a:cubicBezTo>
                    <a:cubicBezTo>
                      <a:pt x="133" y="110"/>
                      <a:pt x="128" y="97"/>
                      <a:pt x="121" y="103"/>
                    </a:cubicBezTo>
                    <a:cubicBezTo>
                      <a:pt x="113" y="111"/>
                      <a:pt x="120" y="113"/>
                      <a:pt x="118" y="123"/>
                    </a:cubicBezTo>
                    <a:cubicBezTo>
                      <a:pt x="117" y="125"/>
                      <a:pt x="115" y="126"/>
                      <a:pt x="115" y="128"/>
                    </a:cubicBezTo>
                    <a:cubicBezTo>
                      <a:pt x="115" y="129"/>
                      <a:pt x="107" y="122"/>
                      <a:pt x="106" y="121"/>
                    </a:cubicBezTo>
                    <a:cubicBezTo>
                      <a:pt x="104" y="120"/>
                      <a:pt x="84" y="113"/>
                      <a:pt x="82" y="115"/>
                    </a:cubicBezTo>
                    <a:cubicBezTo>
                      <a:pt x="80" y="117"/>
                      <a:pt x="81" y="122"/>
                      <a:pt x="80" y="124"/>
                    </a:cubicBezTo>
                    <a:cubicBezTo>
                      <a:pt x="73" y="136"/>
                      <a:pt x="64" y="129"/>
                      <a:pt x="54" y="131"/>
                    </a:cubicBezTo>
                    <a:cubicBezTo>
                      <a:pt x="51" y="131"/>
                      <a:pt x="48" y="132"/>
                      <a:pt x="46" y="132"/>
                    </a:cubicBezTo>
                    <a:cubicBezTo>
                      <a:pt x="44" y="130"/>
                      <a:pt x="44" y="130"/>
                      <a:pt x="44" y="130"/>
                    </a:cubicBezTo>
                    <a:cubicBezTo>
                      <a:pt x="43" y="128"/>
                      <a:pt x="43" y="124"/>
                      <a:pt x="42" y="122"/>
                    </a:cubicBezTo>
                    <a:cubicBezTo>
                      <a:pt x="38" y="115"/>
                      <a:pt x="25" y="98"/>
                      <a:pt x="18" y="94"/>
                    </a:cubicBezTo>
                    <a:cubicBezTo>
                      <a:pt x="3" y="85"/>
                      <a:pt x="3" y="97"/>
                      <a:pt x="4" y="106"/>
                    </a:cubicBezTo>
                    <a:cubicBezTo>
                      <a:pt x="0" y="118"/>
                      <a:pt x="0" y="118"/>
                      <a:pt x="0" y="118"/>
                    </a:cubicBezTo>
                    <a:cubicBezTo>
                      <a:pt x="1" y="118"/>
                      <a:pt x="1" y="118"/>
                      <a:pt x="1" y="118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3" y="121"/>
                      <a:pt x="3" y="121"/>
                      <a:pt x="3" y="121"/>
                    </a:cubicBezTo>
                    <a:cubicBezTo>
                      <a:pt x="2" y="123"/>
                      <a:pt x="0" y="123"/>
                      <a:pt x="3" y="125"/>
                    </a:cubicBezTo>
                    <a:cubicBezTo>
                      <a:pt x="12" y="132"/>
                      <a:pt x="29" y="146"/>
                      <a:pt x="39" y="150"/>
                    </a:cubicBezTo>
                    <a:cubicBezTo>
                      <a:pt x="51" y="155"/>
                      <a:pt x="60" y="151"/>
                      <a:pt x="71" y="162"/>
                    </a:cubicBezTo>
                    <a:cubicBezTo>
                      <a:pt x="73" y="163"/>
                      <a:pt x="72" y="168"/>
                      <a:pt x="74" y="170"/>
                    </a:cubicBezTo>
                    <a:cubicBezTo>
                      <a:pt x="76" y="170"/>
                      <a:pt x="77" y="167"/>
                      <a:pt x="78" y="168"/>
                    </a:cubicBezTo>
                    <a:cubicBezTo>
                      <a:pt x="82" y="170"/>
                      <a:pt x="84" y="175"/>
                      <a:pt x="87" y="179"/>
                    </a:cubicBezTo>
                    <a:cubicBezTo>
                      <a:pt x="89" y="180"/>
                      <a:pt x="92" y="180"/>
                      <a:pt x="91" y="181"/>
                    </a:cubicBezTo>
                    <a:cubicBezTo>
                      <a:pt x="85" y="193"/>
                      <a:pt x="92" y="194"/>
                      <a:pt x="94" y="207"/>
                    </a:cubicBezTo>
                    <a:cubicBezTo>
                      <a:pt x="94" y="210"/>
                      <a:pt x="92" y="212"/>
                      <a:pt x="92" y="214"/>
                    </a:cubicBezTo>
                    <a:cubicBezTo>
                      <a:pt x="91" y="215"/>
                      <a:pt x="91" y="215"/>
                      <a:pt x="91" y="215"/>
                    </a:cubicBezTo>
                    <a:cubicBezTo>
                      <a:pt x="91" y="220"/>
                      <a:pt x="100" y="216"/>
                      <a:pt x="102" y="218"/>
                    </a:cubicBezTo>
                    <a:cubicBezTo>
                      <a:pt x="110" y="224"/>
                      <a:pt x="98" y="232"/>
                      <a:pt x="101" y="237"/>
                    </a:cubicBezTo>
                    <a:cubicBezTo>
                      <a:pt x="104" y="245"/>
                      <a:pt x="118" y="253"/>
                      <a:pt x="119" y="262"/>
                    </a:cubicBezTo>
                    <a:cubicBezTo>
                      <a:pt x="120" y="269"/>
                      <a:pt x="115" y="290"/>
                      <a:pt x="115" y="293"/>
                    </a:cubicBezTo>
                    <a:cubicBezTo>
                      <a:pt x="120" y="311"/>
                      <a:pt x="133" y="317"/>
                      <a:pt x="140" y="332"/>
                    </a:cubicBezTo>
                    <a:cubicBezTo>
                      <a:pt x="142" y="328"/>
                      <a:pt x="145" y="325"/>
                      <a:pt x="153" y="329"/>
                    </a:cubicBezTo>
                    <a:cubicBezTo>
                      <a:pt x="156" y="331"/>
                      <a:pt x="154" y="339"/>
                      <a:pt x="158" y="342"/>
                    </a:cubicBezTo>
                    <a:cubicBezTo>
                      <a:pt x="162" y="344"/>
                      <a:pt x="166" y="339"/>
                      <a:pt x="170" y="340"/>
                    </a:cubicBezTo>
                    <a:cubicBezTo>
                      <a:pt x="172" y="340"/>
                      <a:pt x="172" y="344"/>
                      <a:pt x="173" y="345"/>
                    </a:cubicBezTo>
                    <a:cubicBezTo>
                      <a:pt x="176" y="347"/>
                      <a:pt x="176" y="340"/>
                      <a:pt x="180" y="346"/>
                    </a:cubicBezTo>
                    <a:cubicBezTo>
                      <a:pt x="186" y="359"/>
                      <a:pt x="181" y="370"/>
                      <a:pt x="184" y="376"/>
                    </a:cubicBezTo>
                    <a:cubicBezTo>
                      <a:pt x="185" y="381"/>
                      <a:pt x="201" y="369"/>
                      <a:pt x="194" y="386"/>
                    </a:cubicBezTo>
                    <a:cubicBezTo>
                      <a:pt x="192" y="390"/>
                      <a:pt x="186" y="389"/>
                      <a:pt x="183" y="391"/>
                    </a:cubicBezTo>
                    <a:cubicBezTo>
                      <a:pt x="180" y="393"/>
                      <a:pt x="176" y="395"/>
                      <a:pt x="173" y="398"/>
                    </a:cubicBezTo>
                    <a:cubicBezTo>
                      <a:pt x="172" y="399"/>
                      <a:pt x="174" y="402"/>
                      <a:pt x="173" y="403"/>
                    </a:cubicBezTo>
                    <a:cubicBezTo>
                      <a:pt x="172" y="404"/>
                      <a:pt x="169" y="402"/>
                      <a:pt x="168" y="403"/>
                    </a:cubicBezTo>
                    <a:cubicBezTo>
                      <a:pt x="167" y="407"/>
                      <a:pt x="166" y="412"/>
                      <a:pt x="166" y="416"/>
                    </a:cubicBezTo>
                    <a:cubicBezTo>
                      <a:pt x="166" y="419"/>
                      <a:pt x="168" y="422"/>
                      <a:pt x="167" y="425"/>
                    </a:cubicBezTo>
                    <a:cubicBezTo>
                      <a:pt x="166" y="430"/>
                      <a:pt x="159" y="432"/>
                      <a:pt x="158" y="437"/>
                    </a:cubicBezTo>
                    <a:cubicBezTo>
                      <a:pt x="157" y="440"/>
                      <a:pt x="160" y="444"/>
                      <a:pt x="159" y="447"/>
                    </a:cubicBezTo>
                    <a:cubicBezTo>
                      <a:pt x="156" y="453"/>
                      <a:pt x="150" y="452"/>
                      <a:pt x="149" y="460"/>
                    </a:cubicBezTo>
                    <a:cubicBezTo>
                      <a:pt x="149" y="462"/>
                      <a:pt x="152" y="464"/>
                      <a:pt x="152" y="466"/>
                    </a:cubicBezTo>
                    <a:cubicBezTo>
                      <a:pt x="150" y="477"/>
                      <a:pt x="135" y="475"/>
                      <a:pt x="134" y="485"/>
                    </a:cubicBezTo>
                    <a:cubicBezTo>
                      <a:pt x="134" y="489"/>
                      <a:pt x="131" y="499"/>
                      <a:pt x="130" y="499"/>
                    </a:cubicBezTo>
                    <a:cubicBezTo>
                      <a:pt x="128" y="499"/>
                      <a:pt x="125" y="494"/>
                      <a:pt x="123" y="495"/>
                    </a:cubicBezTo>
                    <a:cubicBezTo>
                      <a:pt x="118" y="500"/>
                      <a:pt x="126" y="511"/>
                      <a:pt x="121" y="515"/>
                    </a:cubicBezTo>
                    <a:cubicBezTo>
                      <a:pt x="119" y="516"/>
                      <a:pt x="116" y="508"/>
                      <a:pt x="116" y="511"/>
                    </a:cubicBezTo>
                    <a:cubicBezTo>
                      <a:pt x="116" y="514"/>
                      <a:pt x="120" y="515"/>
                      <a:pt x="121" y="518"/>
                    </a:cubicBezTo>
                    <a:cubicBezTo>
                      <a:pt x="127" y="536"/>
                      <a:pt x="120" y="524"/>
                      <a:pt x="112" y="533"/>
                    </a:cubicBezTo>
                    <a:cubicBezTo>
                      <a:pt x="110" y="535"/>
                      <a:pt x="113" y="541"/>
                      <a:pt x="111" y="541"/>
                    </a:cubicBezTo>
                    <a:cubicBezTo>
                      <a:pt x="108" y="540"/>
                      <a:pt x="110" y="533"/>
                      <a:pt x="107" y="533"/>
                    </a:cubicBezTo>
                    <a:cubicBezTo>
                      <a:pt x="102" y="532"/>
                      <a:pt x="97" y="533"/>
                      <a:pt x="94" y="537"/>
                    </a:cubicBezTo>
                    <a:cubicBezTo>
                      <a:pt x="85" y="553"/>
                      <a:pt x="104" y="542"/>
                      <a:pt x="103" y="551"/>
                    </a:cubicBezTo>
                    <a:cubicBezTo>
                      <a:pt x="102" y="557"/>
                      <a:pt x="87" y="566"/>
                      <a:pt x="87" y="572"/>
                    </a:cubicBezTo>
                    <a:cubicBezTo>
                      <a:pt x="84" y="610"/>
                      <a:pt x="87" y="571"/>
                      <a:pt x="93" y="585"/>
                    </a:cubicBezTo>
                    <a:cubicBezTo>
                      <a:pt x="94" y="586"/>
                      <a:pt x="88" y="596"/>
                      <a:pt x="93" y="599"/>
                    </a:cubicBezTo>
                    <a:cubicBezTo>
                      <a:pt x="93" y="600"/>
                      <a:pt x="94" y="597"/>
                      <a:pt x="95" y="597"/>
                    </a:cubicBezTo>
                    <a:cubicBezTo>
                      <a:pt x="96" y="599"/>
                      <a:pt x="94" y="603"/>
                      <a:pt x="97" y="604"/>
                    </a:cubicBezTo>
                    <a:cubicBezTo>
                      <a:pt x="98" y="604"/>
                      <a:pt x="95" y="598"/>
                      <a:pt x="97" y="598"/>
                    </a:cubicBezTo>
                    <a:cubicBezTo>
                      <a:pt x="99" y="598"/>
                      <a:pt x="99" y="600"/>
                      <a:pt x="100" y="602"/>
                    </a:cubicBezTo>
                    <a:cubicBezTo>
                      <a:pt x="103" y="611"/>
                      <a:pt x="99" y="626"/>
                      <a:pt x="101" y="629"/>
                    </a:cubicBezTo>
                    <a:cubicBezTo>
                      <a:pt x="102" y="631"/>
                      <a:pt x="106" y="630"/>
                      <a:pt x="107" y="632"/>
                    </a:cubicBezTo>
                    <a:cubicBezTo>
                      <a:pt x="110" y="635"/>
                      <a:pt x="111" y="638"/>
                      <a:pt x="112" y="641"/>
                    </a:cubicBezTo>
                    <a:cubicBezTo>
                      <a:pt x="113" y="642"/>
                      <a:pt x="112" y="644"/>
                      <a:pt x="112" y="645"/>
                    </a:cubicBezTo>
                    <a:cubicBezTo>
                      <a:pt x="113" y="647"/>
                      <a:pt x="116" y="647"/>
                      <a:pt x="117" y="648"/>
                    </a:cubicBezTo>
                    <a:cubicBezTo>
                      <a:pt x="117" y="648"/>
                      <a:pt x="115" y="648"/>
                      <a:pt x="115" y="648"/>
                    </a:cubicBezTo>
                    <a:cubicBezTo>
                      <a:pt x="114" y="649"/>
                      <a:pt x="115" y="650"/>
                      <a:pt x="116" y="652"/>
                    </a:cubicBezTo>
                    <a:cubicBezTo>
                      <a:pt x="119" y="655"/>
                      <a:pt x="125" y="657"/>
                      <a:pt x="124" y="661"/>
                    </a:cubicBezTo>
                    <a:cubicBezTo>
                      <a:pt x="124" y="664"/>
                      <a:pt x="115" y="661"/>
                      <a:pt x="114" y="665"/>
                    </a:cubicBezTo>
                    <a:cubicBezTo>
                      <a:pt x="113" y="669"/>
                      <a:pt x="120" y="672"/>
                      <a:pt x="121" y="676"/>
                    </a:cubicBezTo>
                    <a:cubicBezTo>
                      <a:pt x="121" y="678"/>
                      <a:pt x="119" y="679"/>
                      <a:pt x="119" y="682"/>
                    </a:cubicBezTo>
                    <a:cubicBezTo>
                      <a:pt x="120" y="683"/>
                      <a:pt x="123" y="683"/>
                      <a:pt x="123" y="684"/>
                    </a:cubicBezTo>
                    <a:cubicBezTo>
                      <a:pt x="123" y="692"/>
                      <a:pt x="117" y="684"/>
                      <a:pt x="119" y="690"/>
                    </a:cubicBezTo>
                    <a:cubicBezTo>
                      <a:pt x="120" y="692"/>
                      <a:pt x="123" y="694"/>
                      <a:pt x="122" y="696"/>
                    </a:cubicBezTo>
                    <a:cubicBezTo>
                      <a:pt x="121" y="698"/>
                      <a:pt x="116" y="695"/>
                      <a:pt x="115" y="697"/>
                    </a:cubicBezTo>
                    <a:cubicBezTo>
                      <a:pt x="115" y="712"/>
                      <a:pt x="121" y="713"/>
                      <a:pt x="125" y="720"/>
                    </a:cubicBezTo>
                    <a:cubicBezTo>
                      <a:pt x="127" y="721"/>
                      <a:pt x="121" y="722"/>
                      <a:pt x="122" y="723"/>
                    </a:cubicBezTo>
                    <a:cubicBezTo>
                      <a:pt x="123" y="726"/>
                      <a:pt x="124" y="729"/>
                      <a:pt x="125" y="731"/>
                    </a:cubicBezTo>
                    <a:cubicBezTo>
                      <a:pt x="138" y="747"/>
                      <a:pt x="128" y="730"/>
                      <a:pt x="140" y="728"/>
                    </a:cubicBezTo>
                    <a:cubicBezTo>
                      <a:pt x="142" y="728"/>
                      <a:pt x="138" y="734"/>
                      <a:pt x="140" y="736"/>
                    </a:cubicBezTo>
                    <a:cubicBezTo>
                      <a:pt x="143" y="738"/>
                      <a:pt x="147" y="735"/>
                      <a:pt x="151" y="735"/>
                    </a:cubicBezTo>
                    <a:cubicBezTo>
                      <a:pt x="155" y="735"/>
                      <a:pt x="156" y="741"/>
                      <a:pt x="159" y="741"/>
                    </a:cubicBezTo>
                    <a:cubicBezTo>
                      <a:pt x="162" y="741"/>
                      <a:pt x="163" y="738"/>
                      <a:pt x="166" y="738"/>
                    </a:cubicBezTo>
                    <a:cubicBezTo>
                      <a:pt x="167" y="737"/>
                      <a:pt x="166" y="739"/>
                      <a:pt x="166" y="740"/>
                    </a:cubicBezTo>
                    <a:cubicBezTo>
                      <a:pt x="168" y="740"/>
                      <a:pt x="169" y="740"/>
                      <a:pt x="171" y="739"/>
                    </a:cubicBezTo>
                    <a:cubicBezTo>
                      <a:pt x="171" y="739"/>
                      <a:pt x="171" y="735"/>
                      <a:pt x="172" y="736"/>
                    </a:cubicBezTo>
                    <a:cubicBezTo>
                      <a:pt x="177" y="749"/>
                      <a:pt x="168" y="751"/>
                      <a:pt x="171" y="752"/>
                    </a:cubicBezTo>
                    <a:cubicBezTo>
                      <a:pt x="172" y="752"/>
                      <a:pt x="185" y="742"/>
                      <a:pt x="186" y="741"/>
                    </a:cubicBezTo>
                    <a:cubicBezTo>
                      <a:pt x="187" y="740"/>
                      <a:pt x="188" y="738"/>
                      <a:pt x="189" y="737"/>
                    </a:cubicBezTo>
                    <a:cubicBezTo>
                      <a:pt x="186" y="746"/>
                      <a:pt x="179" y="755"/>
                      <a:pt x="192" y="760"/>
                    </a:cubicBezTo>
                    <a:cubicBezTo>
                      <a:pt x="194" y="761"/>
                      <a:pt x="199" y="756"/>
                      <a:pt x="200" y="759"/>
                    </a:cubicBezTo>
                    <a:cubicBezTo>
                      <a:pt x="201" y="762"/>
                      <a:pt x="192" y="767"/>
                      <a:pt x="196" y="768"/>
                    </a:cubicBezTo>
                    <a:cubicBezTo>
                      <a:pt x="199" y="770"/>
                      <a:pt x="198" y="760"/>
                      <a:pt x="202" y="760"/>
                    </a:cubicBezTo>
                    <a:cubicBezTo>
                      <a:pt x="205" y="759"/>
                      <a:pt x="202" y="765"/>
                      <a:pt x="201" y="768"/>
                    </a:cubicBezTo>
                    <a:cubicBezTo>
                      <a:pt x="199" y="770"/>
                      <a:pt x="196" y="772"/>
                      <a:pt x="193" y="774"/>
                    </a:cubicBezTo>
                    <a:cubicBezTo>
                      <a:pt x="192" y="776"/>
                      <a:pt x="188" y="779"/>
                      <a:pt x="189" y="778"/>
                    </a:cubicBezTo>
                    <a:cubicBezTo>
                      <a:pt x="207" y="772"/>
                      <a:pt x="200" y="760"/>
                      <a:pt x="209" y="755"/>
                    </a:cubicBezTo>
                    <a:cubicBezTo>
                      <a:pt x="212" y="753"/>
                      <a:pt x="205" y="762"/>
                      <a:pt x="207" y="764"/>
                    </a:cubicBezTo>
                    <a:cubicBezTo>
                      <a:pt x="211" y="766"/>
                      <a:pt x="216" y="763"/>
                      <a:pt x="220" y="761"/>
                    </a:cubicBezTo>
                    <a:cubicBezTo>
                      <a:pt x="223" y="760"/>
                      <a:pt x="224" y="755"/>
                      <a:pt x="227" y="753"/>
                    </a:cubicBezTo>
                    <a:cubicBezTo>
                      <a:pt x="230" y="751"/>
                      <a:pt x="245" y="749"/>
                      <a:pt x="247" y="747"/>
                    </a:cubicBezTo>
                    <a:cubicBezTo>
                      <a:pt x="249" y="745"/>
                      <a:pt x="243" y="742"/>
                      <a:pt x="245" y="740"/>
                    </a:cubicBezTo>
                    <a:cubicBezTo>
                      <a:pt x="248" y="738"/>
                      <a:pt x="252" y="740"/>
                      <a:pt x="256" y="739"/>
                    </a:cubicBezTo>
                    <a:cubicBezTo>
                      <a:pt x="257" y="739"/>
                      <a:pt x="259" y="740"/>
                      <a:pt x="260" y="739"/>
                    </a:cubicBezTo>
                    <a:cubicBezTo>
                      <a:pt x="261" y="737"/>
                      <a:pt x="259" y="735"/>
                      <a:pt x="259" y="734"/>
                    </a:cubicBezTo>
                    <a:cubicBezTo>
                      <a:pt x="260" y="733"/>
                      <a:pt x="260" y="736"/>
                      <a:pt x="261" y="737"/>
                    </a:cubicBezTo>
                    <a:cubicBezTo>
                      <a:pt x="262" y="738"/>
                      <a:pt x="276" y="729"/>
                      <a:pt x="278" y="727"/>
                    </a:cubicBezTo>
                    <a:cubicBezTo>
                      <a:pt x="278" y="726"/>
                      <a:pt x="275" y="715"/>
                      <a:pt x="281" y="716"/>
                    </a:cubicBezTo>
                    <a:cubicBezTo>
                      <a:pt x="282" y="716"/>
                      <a:pt x="303" y="735"/>
                      <a:pt x="298" y="714"/>
                    </a:cubicBezTo>
                    <a:cubicBezTo>
                      <a:pt x="297" y="710"/>
                      <a:pt x="287" y="710"/>
                      <a:pt x="288" y="705"/>
                    </a:cubicBezTo>
                    <a:cubicBezTo>
                      <a:pt x="289" y="701"/>
                      <a:pt x="297" y="704"/>
                      <a:pt x="301" y="705"/>
                    </a:cubicBezTo>
                    <a:cubicBezTo>
                      <a:pt x="303" y="705"/>
                      <a:pt x="303" y="712"/>
                      <a:pt x="305" y="710"/>
                    </a:cubicBezTo>
                    <a:cubicBezTo>
                      <a:pt x="311" y="707"/>
                      <a:pt x="302" y="687"/>
                      <a:pt x="309" y="691"/>
                    </a:cubicBezTo>
                    <a:cubicBezTo>
                      <a:pt x="315" y="695"/>
                      <a:pt x="300" y="709"/>
                      <a:pt x="317" y="704"/>
                    </a:cubicBezTo>
                    <a:cubicBezTo>
                      <a:pt x="344" y="695"/>
                      <a:pt x="321" y="700"/>
                      <a:pt x="327" y="692"/>
                    </a:cubicBezTo>
                    <a:cubicBezTo>
                      <a:pt x="327" y="691"/>
                      <a:pt x="328" y="693"/>
                      <a:pt x="329" y="693"/>
                    </a:cubicBezTo>
                    <a:cubicBezTo>
                      <a:pt x="330" y="693"/>
                      <a:pt x="332" y="693"/>
                      <a:pt x="332" y="692"/>
                    </a:cubicBezTo>
                    <a:cubicBezTo>
                      <a:pt x="333" y="691"/>
                      <a:pt x="331" y="687"/>
                      <a:pt x="332" y="687"/>
                    </a:cubicBezTo>
                    <a:cubicBezTo>
                      <a:pt x="333" y="687"/>
                      <a:pt x="342" y="695"/>
                      <a:pt x="345" y="693"/>
                    </a:cubicBezTo>
                    <a:cubicBezTo>
                      <a:pt x="349" y="692"/>
                      <a:pt x="352" y="689"/>
                      <a:pt x="354" y="686"/>
                    </a:cubicBezTo>
                    <a:cubicBezTo>
                      <a:pt x="355" y="686"/>
                      <a:pt x="355" y="686"/>
                      <a:pt x="355" y="685"/>
                    </a:cubicBezTo>
                    <a:lnTo>
                      <a:pt x="353" y="68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0" name="Germany"/>
              <p:cNvSpPr>
                <a:spLocks noEditPoints="1"/>
              </p:cNvSpPr>
              <p:nvPr/>
            </p:nvSpPr>
            <p:spPr bwMode="auto">
              <a:xfrm>
                <a:off x="4755086" y="4041235"/>
                <a:ext cx="725676" cy="1027413"/>
              </a:xfrm>
              <a:custGeom>
                <a:avLst/>
                <a:gdLst>
                  <a:gd name="T0" fmla="*/ 408 w 434"/>
                  <a:gd name="T1" fmla="*/ 167 h 571"/>
                  <a:gd name="T2" fmla="*/ 417 w 434"/>
                  <a:gd name="T3" fmla="*/ 204 h 571"/>
                  <a:gd name="T4" fmla="*/ 427 w 434"/>
                  <a:gd name="T5" fmla="*/ 247 h 571"/>
                  <a:gd name="T6" fmla="*/ 382 w 434"/>
                  <a:gd name="T7" fmla="*/ 302 h 571"/>
                  <a:gd name="T8" fmla="*/ 359 w 434"/>
                  <a:gd name="T9" fmla="*/ 314 h 571"/>
                  <a:gd name="T10" fmla="*/ 331 w 434"/>
                  <a:gd name="T11" fmla="*/ 329 h 571"/>
                  <a:gd name="T12" fmla="*/ 316 w 434"/>
                  <a:gd name="T13" fmla="*/ 365 h 571"/>
                  <a:gd name="T14" fmla="*/ 346 w 434"/>
                  <a:gd name="T15" fmla="*/ 414 h 571"/>
                  <a:gd name="T16" fmla="*/ 369 w 434"/>
                  <a:gd name="T17" fmla="*/ 468 h 571"/>
                  <a:gd name="T18" fmla="*/ 345 w 434"/>
                  <a:gd name="T19" fmla="*/ 532 h 571"/>
                  <a:gd name="T20" fmla="*/ 325 w 434"/>
                  <a:gd name="T21" fmla="*/ 539 h 571"/>
                  <a:gd name="T22" fmla="*/ 309 w 434"/>
                  <a:gd name="T23" fmla="*/ 541 h 571"/>
                  <a:gd name="T24" fmla="*/ 270 w 434"/>
                  <a:gd name="T25" fmla="*/ 554 h 571"/>
                  <a:gd name="T26" fmla="*/ 245 w 434"/>
                  <a:gd name="T27" fmla="*/ 549 h 571"/>
                  <a:gd name="T28" fmla="*/ 208 w 434"/>
                  <a:gd name="T29" fmla="*/ 567 h 571"/>
                  <a:gd name="T30" fmla="*/ 203 w 434"/>
                  <a:gd name="T31" fmla="*/ 553 h 571"/>
                  <a:gd name="T32" fmla="*/ 179 w 434"/>
                  <a:gd name="T33" fmla="*/ 549 h 571"/>
                  <a:gd name="T34" fmla="*/ 139 w 434"/>
                  <a:gd name="T35" fmla="*/ 537 h 571"/>
                  <a:gd name="T36" fmla="*/ 129 w 434"/>
                  <a:gd name="T37" fmla="*/ 538 h 571"/>
                  <a:gd name="T38" fmla="*/ 79 w 434"/>
                  <a:gd name="T39" fmla="*/ 544 h 571"/>
                  <a:gd name="T40" fmla="*/ 78 w 434"/>
                  <a:gd name="T41" fmla="*/ 509 h 571"/>
                  <a:gd name="T42" fmla="*/ 113 w 434"/>
                  <a:gd name="T43" fmla="*/ 441 h 571"/>
                  <a:gd name="T44" fmla="*/ 55 w 434"/>
                  <a:gd name="T45" fmla="*/ 423 h 571"/>
                  <a:gd name="T46" fmla="*/ 32 w 434"/>
                  <a:gd name="T47" fmla="*/ 375 h 571"/>
                  <a:gd name="T48" fmla="*/ 23 w 434"/>
                  <a:gd name="T49" fmla="*/ 315 h 571"/>
                  <a:gd name="T50" fmla="*/ 6 w 434"/>
                  <a:gd name="T51" fmla="*/ 282 h 571"/>
                  <a:gd name="T52" fmla="*/ 23 w 434"/>
                  <a:gd name="T53" fmla="*/ 259 h 571"/>
                  <a:gd name="T54" fmla="*/ 23 w 434"/>
                  <a:gd name="T55" fmla="*/ 223 h 571"/>
                  <a:gd name="T56" fmla="*/ 48 w 434"/>
                  <a:gd name="T57" fmla="*/ 208 h 571"/>
                  <a:gd name="T58" fmla="*/ 51 w 434"/>
                  <a:gd name="T59" fmla="*/ 166 h 571"/>
                  <a:gd name="T60" fmla="*/ 77 w 434"/>
                  <a:gd name="T61" fmla="*/ 122 h 571"/>
                  <a:gd name="T62" fmla="*/ 68 w 434"/>
                  <a:gd name="T63" fmla="*/ 115 h 571"/>
                  <a:gd name="T64" fmla="*/ 113 w 434"/>
                  <a:gd name="T65" fmla="*/ 89 h 571"/>
                  <a:gd name="T66" fmla="*/ 150 w 434"/>
                  <a:gd name="T67" fmla="*/ 80 h 571"/>
                  <a:gd name="T68" fmla="*/ 180 w 434"/>
                  <a:gd name="T69" fmla="*/ 96 h 571"/>
                  <a:gd name="T70" fmla="*/ 139 w 434"/>
                  <a:gd name="T71" fmla="*/ 42 h 571"/>
                  <a:gd name="T72" fmla="*/ 142 w 434"/>
                  <a:gd name="T73" fmla="*/ 13 h 571"/>
                  <a:gd name="T74" fmla="*/ 175 w 434"/>
                  <a:gd name="T75" fmla="*/ 8 h 571"/>
                  <a:gd name="T76" fmla="*/ 197 w 434"/>
                  <a:gd name="T77" fmla="*/ 11 h 571"/>
                  <a:gd name="T78" fmla="*/ 200 w 434"/>
                  <a:gd name="T79" fmla="*/ 18 h 571"/>
                  <a:gd name="T80" fmla="*/ 205 w 434"/>
                  <a:gd name="T81" fmla="*/ 44 h 571"/>
                  <a:gd name="T82" fmla="*/ 238 w 434"/>
                  <a:gd name="T83" fmla="*/ 71 h 571"/>
                  <a:gd name="T84" fmla="*/ 291 w 434"/>
                  <a:gd name="T85" fmla="*/ 58 h 571"/>
                  <a:gd name="T86" fmla="*/ 324 w 434"/>
                  <a:gd name="T87" fmla="*/ 34 h 571"/>
                  <a:gd name="T88" fmla="*/ 352 w 434"/>
                  <a:gd name="T89" fmla="*/ 58 h 571"/>
                  <a:gd name="T90" fmla="*/ 378 w 434"/>
                  <a:gd name="T91" fmla="*/ 82 h 571"/>
                  <a:gd name="T92" fmla="*/ 350 w 434"/>
                  <a:gd name="T93" fmla="*/ 28 h 571"/>
                  <a:gd name="T94" fmla="*/ 357 w 434"/>
                  <a:gd name="T95" fmla="*/ 21 h 571"/>
                  <a:gd name="T96" fmla="*/ 334 w 434"/>
                  <a:gd name="T97" fmla="*/ 40 h 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34" h="571">
                    <a:moveTo>
                      <a:pt x="386" y="84"/>
                    </a:moveTo>
                    <a:cubicBezTo>
                      <a:pt x="387" y="93"/>
                      <a:pt x="396" y="110"/>
                      <a:pt x="397" y="116"/>
                    </a:cubicBezTo>
                    <a:cubicBezTo>
                      <a:pt x="399" y="129"/>
                      <a:pt x="381" y="138"/>
                      <a:pt x="385" y="149"/>
                    </a:cubicBezTo>
                    <a:cubicBezTo>
                      <a:pt x="387" y="156"/>
                      <a:pt x="408" y="159"/>
                      <a:pt x="408" y="167"/>
                    </a:cubicBezTo>
                    <a:cubicBezTo>
                      <a:pt x="408" y="176"/>
                      <a:pt x="402" y="179"/>
                      <a:pt x="407" y="185"/>
                    </a:cubicBezTo>
                    <a:cubicBezTo>
                      <a:pt x="408" y="188"/>
                      <a:pt x="412" y="189"/>
                      <a:pt x="414" y="192"/>
                    </a:cubicBezTo>
                    <a:cubicBezTo>
                      <a:pt x="415" y="195"/>
                      <a:pt x="413" y="199"/>
                      <a:pt x="414" y="202"/>
                    </a:cubicBezTo>
                    <a:cubicBezTo>
                      <a:pt x="414" y="204"/>
                      <a:pt x="416" y="203"/>
                      <a:pt x="417" y="204"/>
                    </a:cubicBezTo>
                    <a:cubicBezTo>
                      <a:pt x="420" y="208"/>
                      <a:pt x="413" y="218"/>
                      <a:pt x="411" y="221"/>
                    </a:cubicBezTo>
                    <a:cubicBezTo>
                      <a:pt x="408" y="226"/>
                      <a:pt x="416" y="229"/>
                      <a:pt x="418" y="234"/>
                    </a:cubicBezTo>
                    <a:cubicBezTo>
                      <a:pt x="419" y="237"/>
                      <a:pt x="415" y="240"/>
                      <a:pt x="417" y="243"/>
                    </a:cubicBezTo>
                    <a:cubicBezTo>
                      <a:pt x="419" y="246"/>
                      <a:pt x="424" y="245"/>
                      <a:pt x="427" y="247"/>
                    </a:cubicBezTo>
                    <a:cubicBezTo>
                      <a:pt x="434" y="254"/>
                      <a:pt x="431" y="296"/>
                      <a:pt x="424" y="297"/>
                    </a:cubicBezTo>
                    <a:cubicBezTo>
                      <a:pt x="417" y="299"/>
                      <a:pt x="405" y="267"/>
                      <a:pt x="399" y="285"/>
                    </a:cubicBezTo>
                    <a:cubicBezTo>
                      <a:pt x="398" y="288"/>
                      <a:pt x="408" y="290"/>
                      <a:pt x="406" y="292"/>
                    </a:cubicBezTo>
                    <a:cubicBezTo>
                      <a:pt x="399" y="297"/>
                      <a:pt x="389" y="298"/>
                      <a:pt x="382" y="302"/>
                    </a:cubicBezTo>
                    <a:cubicBezTo>
                      <a:pt x="381" y="303"/>
                      <a:pt x="382" y="305"/>
                      <a:pt x="381" y="306"/>
                    </a:cubicBezTo>
                    <a:cubicBezTo>
                      <a:pt x="377" y="308"/>
                      <a:pt x="371" y="305"/>
                      <a:pt x="367" y="308"/>
                    </a:cubicBezTo>
                    <a:cubicBezTo>
                      <a:pt x="364" y="310"/>
                      <a:pt x="365" y="314"/>
                      <a:pt x="363" y="317"/>
                    </a:cubicBezTo>
                    <a:cubicBezTo>
                      <a:pt x="361" y="318"/>
                      <a:pt x="360" y="314"/>
                      <a:pt x="359" y="314"/>
                    </a:cubicBezTo>
                    <a:cubicBezTo>
                      <a:pt x="354" y="316"/>
                      <a:pt x="353" y="322"/>
                      <a:pt x="350" y="325"/>
                    </a:cubicBezTo>
                    <a:cubicBezTo>
                      <a:pt x="348" y="326"/>
                      <a:pt x="344" y="324"/>
                      <a:pt x="343" y="325"/>
                    </a:cubicBezTo>
                    <a:cubicBezTo>
                      <a:pt x="341" y="326"/>
                      <a:pt x="343" y="330"/>
                      <a:pt x="341" y="331"/>
                    </a:cubicBezTo>
                    <a:cubicBezTo>
                      <a:pt x="339" y="334"/>
                      <a:pt x="333" y="329"/>
                      <a:pt x="331" y="329"/>
                    </a:cubicBezTo>
                    <a:cubicBezTo>
                      <a:pt x="317" y="331"/>
                      <a:pt x="314" y="342"/>
                      <a:pt x="310" y="351"/>
                    </a:cubicBezTo>
                    <a:cubicBezTo>
                      <a:pt x="309" y="353"/>
                      <a:pt x="309" y="346"/>
                      <a:pt x="307" y="344"/>
                    </a:cubicBezTo>
                    <a:cubicBezTo>
                      <a:pt x="305" y="342"/>
                      <a:pt x="301" y="341"/>
                      <a:pt x="299" y="340"/>
                    </a:cubicBezTo>
                    <a:cubicBezTo>
                      <a:pt x="294" y="339"/>
                      <a:pt x="304" y="357"/>
                      <a:pt x="316" y="365"/>
                    </a:cubicBezTo>
                    <a:cubicBezTo>
                      <a:pt x="317" y="365"/>
                      <a:pt x="321" y="366"/>
                      <a:pt x="321" y="369"/>
                    </a:cubicBezTo>
                    <a:cubicBezTo>
                      <a:pt x="323" y="377"/>
                      <a:pt x="316" y="374"/>
                      <a:pt x="314" y="381"/>
                    </a:cubicBezTo>
                    <a:cubicBezTo>
                      <a:pt x="314" y="382"/>
                      <a:pt x="326" y="403"/>
                      <a:pt x="328" y="405"/>
                    </a:cubicBezTo>
                    <a:cubicBezTo>
                      <a:pt x="338" y="415"/>
                      <a:pt x="340" y="408"/>
                      <a:pt x="346" y="414"/>
                    </a:cubicBezTo>
                    <a:cubicBezTo>
                      <a:pt x="350" y="418"/>
                      <a:pt x="351" y="424"/>
                      <a:pt x="355" y="428"/>
                    </a:cubicBezTo>
                    <a:cubicBezTo>
                      <a:pt x="364" y="434"/>
                      <a:pt x="388" y="442"/>
                      <a:pt x="387" y="457"/>
                    </a:cubicBezTo>
                    <a:cubicBezTo>
                      <a:pt x="387" y="472"/>
                      <a:pt x="384" y="469"/>
                      <a:pt x="372" y="466"/>
                    </a:cubicBezTo>
                    <a:cubicBezTo>
                      <a:pt x="371" y="466"/>
                      <a:pt x="369" y="467"/>
                      <a:pt x="369" y="468"/>
                    </a:cubicBezTo>
                    <a:cubicBezTo>
                      <a:pt x="368" y="473"/>
                      <a:pt x="371" y="480"/>
                      <a:pt x="365" y="484"/>
                    </a:cubicBezTo>
                    <a:cubicBezTo>
                      <a:pt x="360" y="488"/>
                      <a:pt x="337" y="494"/>
                      <a:pt x="336" y="503"/>
                    </a:cubicBezTo>
                    <a:cubicBezTo>
                      <a:pt x="336" y="503"/>
                      <a:pt x="350" y="522"/>
                      <a:pt x="350" y="522"/>
                    </a:cubicBezTo>
                    <a:cubicBezTo>
                      <a:pt x="350" y="523"/>
                      <a:pt x="342" y="529"/>
                      <a:pt x="345" y="532"/>
                    </a:cubicBezTo>
                    <a:cubicBezTo>
                      <a:pt x="351" y="537"/>
                      <a:pt x="357" y="529"/>
                      <a:pt x="352" y="548"/>
                    </a:cubicBezTo>
                    <a:cubicBezTo>
                      <a:pt x="352" y="549"/>
                      <a:pt x="351" y="550"/>
                      <a:pt x="350" y="550"/>
                    </a:cubicBezTo>
                    <a:cubicBezTo>
                      <a:pt x="332" y="545"/>
                      <a:pt x="346" y="536"/>
                      <a:pt x="338" y="536"/>
                    </a:cubicBezTo>
                    <a:cubicBezTo>
                      <a:pt x="333" y="536"/>
                      <a:pt x="329" y="540"/>
                      <a:pt x="325" y="539"/>
                    </a:cubicBezTo>
                    <a:cubicBezTo>
                      <a:pt x="322" y="539"/>
                      <a:pt x="323" y="535"/>
                      <a:pt x="321" y="534"/>
                    </a:cubicBezTo>
                    <a:cubicBezTo>
                      <a:pt x="318" y="533"/>
                      <a:pt x="314" y="536"/>
                      <a:pt x="312" y="535"/>
                    </a:cubicBezTo>
                    <a:cubicBezTo>
                      <a:pt x="311" y="534"/>
                      <a:pt x="313" y="531"/>
                      <a:pt x="312" y="531"/>
                    </a:cubicBezTo>
                    <a:cubicBezTo>
                      <a:pt x="305" y="531"/>
                      <a:pt x="311" y="540"/>
                      <a:pt x="309" y="541"/>
                    </a:cubicBezTo>
                    <a:cubicBezTo>
                      <a:pt x="301" y="543"/>
                      <a:pt x="288" y="540"/>
                      <a:pt x="281" y="542"/>
                    </a:cubicBezTo>
                    <a:cubicBezTo>
                      <a:pt x="279" y="544"/>
                      <a:pt x="280" y="548"/>
                      <a:pt x="278" y="549"/>
                    </a:cubicBezTo>
                    <a:cubicBezTo>
                      <a:pt x="275" y="550"/>
                      <a:pt x="273" y="548"/>
                      <a:pt x="270" y="549"/>
                    </a:cubicBezTo>
                    <a:cubicBezTo>
                      <a:pt x="269" y="550"/>
                      <a:pt x="271" y="553"/>
                      <a:pt x="270" y="554"/>
                    </a:cubicBezTo>
                    <a:cubicBezTo>
                      <a:pt x="269" y="554"/>
                      <a:pt x="250" y="559"/>
                      <a:pt x="248" y="558"/>
                    </a:cubicBezTo>
                    <a:cubicBezTo>
                      <a:pt x="247" y="557"/>
                      <a:pt x="248" y="554"/>
                      <a:pt x="247" y="553"/>
                    </a:cubicBezTo>
                    <a:cubicBezTo>
                      <a:pt x="246" y="552"/>
                      <a:pt x="243" y="552"/>
                      <a:pt x="243" y="551"/>
                    </a:cubicBezTo>
                    <a:cubicBezTo>
                      <a:pt x="242" y="550"/>
                      <a:pt x="245" y="550"/>
                      <a:pt x="245" y="549"/>
                    </a:cubicBezTo>
                    <a:cubicBezTo>
                      <a:pt x="243" y="542"/>
                      <a:pt x="227" y="551"/>
                      <a:pt x="222" y="546"/>
                    </a:cubicBezTo>
                    <a:cubicBezTo>
                      <a:pt x="222" y="546"/>
                      <a:pt x="223" y="545"/>
                      <a:pt x="223" y="545"/>
                    </a:cubicBezTo>
                    <a:cubicBezTo>
                      <a:pt x="220" y="542"/>
                      <a:pt x="223" y="552"/>
                      <a:pt x="222" y="556"/>
                    </a:cubicBezTo>
                    <a:cubicBezTo>
                      <a:pt x="222" y="558"/>
                      <a:pt x="212" y="571"/>
                      <a:pt x="208" y="567"/>
                    </a:cubicBezTo>
                    <a:cubicBezTo>
                      <a:pt x="205" y="565"/>
                      <a:pt x="212" y="562"/>
                      <a:pt x="210" y="559"/>
                    </a:cubicBezTo>
                    <a:cubicBezTo>
                      <a:pt x="209" y="559"/>
                      <a:pt x="208" y="561"/>
                      <a:pt x="206" y="561"/>
                    </a:cubicBezTo>
                    <a:cubicBezTo>
                      <a:pt x="205" y="561"/>
                      <a:pt x="204" y="561"/>
                      <a:pt x="203" y="559"/>
                    </a:cubicBezTo>
                    <a:cubicBezTo>
                      <a:pt x="202" y="558"/>
                      <a:pt x="206" y="555"/>
                      <a:pt x="203" y="553"/>
                    </a:cubicBezTo>
                    <a:cubicBezTo>
                      <a:pt x="201" y="552"/>
                      <a:pt x="200" y="549"/>
                      <a:pt x="197" y="548"/>
                    </a:cubicBezTo>
                    <a:cubicBezTo>
                      <a:pt x="196" y="546"/>
                      <a:pt x="193" y="549"/>
                      <a:pt x="191" y="549"/>
                    </a:cubicBezTo>
                    <a:cubicBezTo>
                      <a:pt x="190" y="548"/>
                      <a:pt x="191" y="545"/>
                      <a:pt x="190" y="544"/>
                    </a:cubicBezTo>
                    <a:cubicBezTo>
                      <a:pt x="187" y="541"/>
                      <a:pt x="188" y="552"/>
                      <a:pt x="179" y="549"/>
                    </a:cubicBezTo>
                    <a:cubicBezTo>
                      <a:pt x="172" y="546"/>
                      <a:pt x="169" y="540"/>
                      <a:pt x="162" y="539"/>
                    </a:cubicBezTo>
                    <a:cubicBezTo>
                      <a:pt x="162" y="539"/>
                      <a:pt x="143" y="540"/>
                      <a:pt x="143" y="540"/>
                    </a:cubicBezTo>
                    <a:cubicBezTo>
                      <a:pt x="141" y="539"/>
                      <a:pt x="141" y="535"/>
                      <a:pt x="139" y="533"/>
                    </a:cubicBezTo>
                    <a:cubicBezTo>
                      <a:pt x="138" y="532"/>
                      <a:pt x="140" y="536"/>
                      <a:pt x="139" y="537"/>
                    </a:cubicBezTo>
                    <a:cubicBezTo>
                      <a:pt x="137" y="537"/>
                      <a:pt x="135" y="537"/>
                      <a:pt x="135" y="536"/>
                    </a:cubicBezTo>
                    <a:cubicBezTo>
                      <a:pt x="134" y="534"/>
                      <a:pt x="137" y="532"/>
                      <a:pt x="136" y="531"/>
                    </a:cubicBezTo>
                    <a:cubicBezTo>
                      <a:pt x="127" y="522"/>
                      <a:pt x="118" y="537"/>
                      <a:pt x="119" y="538"/>
                    </a:cubicBezTo>
                    <a:cubicBezTo>
                      <a:pt x="123" y="539"/>
                      <a:pt x="126" y="537"/>
                      <a:pt x="129" y="538"/>
                    </a:cubicBezTo>
                    <a:cubicBezTo>
                      <a:pt x="132" y="539"/>
                      <a:pt x="126" y="539"/>
                      <a:pt x="124" y="540"/>
                    </a:cubicBezTo>
                    <a:cubicBezTo>
                      <a:pt x="123" y="541"/>
                      <a:pt x="124" y="544"/>
                      <a:pt x="124" y="544"/>
                    </a:cubicBezTo>
                    <a:cubicBezTo>
                      <a:pt x="110" y="552"/>
                      <a:pt x="120" y="541"/>
                      <a:pt x="109" y="541"/>
                    </a:cubicBezTo>
                    <a:cubicBezTo>
                      <a:pt x="107" y="541"/>
                      <a:pt x="81" y="548"/>
                      <a:pt x="79" y="544"/>
                    </a:cubicBezTo>
                    <a:cubicBezTo>
                      <a:pt x="79" y="543"/>
                      <a:pt x="83" y="542"/>
                      <a:pt x="82" y="542"/>
                    </a:cubicBezTo>
                    <a:cubicBezTo>
                      <a:pt x="77" y="538"/>
                      <a:pt x="75" y="555"/>
                      <a:pt x="75" y="535"/>
                    </a:cubicBezTo>
                    <a:cubicBezTo>
                      <a:pt x="74" y="527"/>
                      <a:pt x="80" y="520"/>
                      <a:pt x="80" y="512"/>
                    </a:cubicBezTo>
                    <a:cubicBezTo>
                      <a:pt x="80" y="511"/>
                      <a:pt x="78" y="511"/>
                      <a:pt x="78" y="509"/>
                    </a:cubicBezTo>
                    <a:cubicBezTo>
                      <a:pt x="77" y="506"/>
                      <a:pt x="79" y="503"/>
                      <a:pt x="80" y="501"/>
                    </a:cubicBezTo>
                    <a:cubicBezTo>
                      <a:pt x="88" y="488"/>
                      <a:pt x="88" y="488"/>
                      <a:pt x="88" y="488"/>
                    </a:cubicBezTo>
                    <a:cubicBezTo>
                      <a:pt x="88" y="484"/>
                      <a:pt x="89" y="472"/>
                      <a:pt x="90" y="468"/>
                    </a:cubicBezTo>
                    <a:cubicBezTo>
                      <a:pt x="95" y="459"/>
                      <a:pt x="106" y="452"/>
                      <a:pt x="113" y="441"/>
                    </a:cubicBezTo>
                    <a:cubicBezTo>
                      <a:pt x="115" y="437"/>
                      <a:pt x="81" y="433"/>
                      <a:pt x="79" y="432"/>
                    </a:cubicBezTo>
                    <a:cubicBezTo>
                      <a:pt x="77" y="430"/>
                      <a:pt x="78" y="426"/>
                      <a:pt x="76" y="425"/>
                    </a:cubicBezTo>
                    <a:cubicBezTo>
                      <a:pt x="73" y="423"/>
                      <a:pt x="55" y="430"/>
                      <a:pt x="54" y="428"/>
                    </a:cubicBezTo>
                    <a:cubicBezTo>
                      <a:pt x="54" y="426"/>
                      <a:pt x="56" y="424"/>
                      <a:pt x="55" y="423"/>
                    </a:cubicBezTo>
                    <a:cubicBezTo>
                      <a:pt x="38" y="408"/>
                      <a:pt x="49" y="431"/>
                      <a:pt x="42" y="424"/>
                    </a:cubicBezTo>
                    <a:cubicBezTo>
                      <a:pt x="37" y="418"/>
                      <a:pt x="34" y="405"/>
                      <a:pt x="29" y="402"/>
                    </a:cubicBezTo>
                    <a:cubicBezTo>
                      <a:pt x="28" y="400"/>
                      <a:pt x="24" y="402"/>
                      <a:pt x="23" y="400"/>
                    </a:cubicBezTo>
                    <a:cubicBezTo>
                      <a:pt x="17" y="389"/>
                      <a:pt x="40" y="385"/>
                      <a:pt x="32" y="375"/>
                    </a:cubicBezTo>
                    <a:cubicBezTo>
                      <a:pt x="30" y="373"/>
                      <a:pt x="17" y="372"/>
                      <a:pt x="14" y="360"/>
                    </a:cubicBezTo>
                    <a:cubicBezTo>
                      <a:pt x="9" y="339"/>
                      <a:pt x="35" y="340"/>
                      <a:pt x="27" y="327"/>
                    </a:cubicBezTo>
                    <a:cubicBezTo>
                      <a:pt x="25" y="325"/>
                      <a:pt x="20" y="325"/>
                      <a:pt x="19" y="322"/>
                    </a:cubicBezTo>
                    <a:cubicBezTo>
                      <a:pt x="19" y="320"/>
                      <a:pt x="23" y="317"/>
                      <a:pt x="23" y="315"/>
                    </a:cubicBezTo>
                    <a:cubicBezTo>
                      <a:pt x="23" y="313"/>
                      <a:pt x="19" y="316"/>
                      <a:pt x="18" y="314"/>
                    </a:cubicBezTo>
                    <a:cubicBezTo>
                      <a:pt x="17" y="314"/>
                      <a:pt x="10" y="302"/>
                      <a:pt x="10" y="300"/>
                    </a:cubicBezTo>
                    <a:cubicBezTo>
                      <a:pt x="11" y="298"/>
                      <a:pt x="15" y="298"/>
                      <a:pt x="15" y="296"/>
                    </a:cubicBezTo>
                    <a:cubicBezTo>
                      <a:pt x="17" y="286"/>
                      <a:pt x="0" y="283"/>
                      <a:pt x="6" y="282"/>
                    </a:cubicBezTo>
                    <a:cubicBezTo>
                      <a:pt x="7" y="281"/>
                      <a:pt x="8" y="283"/>
                      <a:pt x="10" y="283"/>
                    </a:cubicBezTo>
                    <a:cubicBezTo>
                      <a:pt x="20" y="274"/>
                      <a:pt x="20" y="274"/>
                      <a:pt x="20" y="274"/>
                    </a:cubicBezTo>
                    <a:cubicBezTo>
                      <a:pt x="21" y="271"/>
                      <a:pt x="13" y="274"/>
                      <a:pt x="16" y="270"/>
                    </a:cubicBezTo>
                    <a:cubicBezTo>
                      <a:pt x="17" y="266"/>
                      <a:pt x="21" y="263"/>
                      <a:pt x="23" y="259"/>
                    </a:cubicBezTo>
                    <a:cubicBezTo>
                      <a:pt x="28" y="247"/>
                      <a:pt x="16" y="238"/>
                      <a:pt x="12" y="231"/>
                    </a:cubicBezTo>
                    <a:cubicBezTo>
                      <a:pt x="12" y="230"/>
                      <a:pt x="13" y="228"/>
                      <a:pt x="13" y="227"/>
                    </a:cubicBezTo>
                    <a:cubicBezTo>
                      <a:pt x="13" y="226"/>
                      <a:pt x="12" y="224"/>
                      <a:pt x="13" y="224"/>
                    </a:cubicBezTo>
                    <a:cubicBezTo>
                      <a:pt x="16" y="222"/>
                      <a:pt x="20" y="224"/>
                      <a:pt x="23" y="223"/>
                    </a:cubicBezTo>
                    <a:cubicBezTo>
                      <a:pt x="24" y="222"/>
                      <a:pt x="22" y="219"/>
                      <a:pt x="23" y="219"/>
                    </a:cubicBezTo>
                    <a:cubicBezTo>
                      <a:pt x="27" y="221"/>
                      <a:pt x="29" y="224"/>
                      <a:pt x="33" y="224"/>
                    </a:cubicBezTo>
                    <a:cubicBezTo>
                      <a:pt x="37" y="225"/>
                      <a:pt x="52" y="220"/>
                      <a:pt x="54" y="216"/>
                    </a:cubicBezTo>
                    <a:cubicBezTo>
                      <a:pt x="55" y="212"/>
                      <a:pt x="43" y="211"/>
                      <a:pt x="48" y="208"/>
                    </a:cubicBezTo>
                    <a:cubicBezTo>
                      <a:pt x="57" y="202"/>
                      <a:pt x="68" y="200"/>
                      <a:pt x="66" y="185"/>
                    </a:cubicBezTo>
                    <a:cubicBezTo>
                      <a:pt x="65" y="178"/>
                      <a:pt x="44" y="181"/>
                      <a:pt x="49" y="172"/>
                    </a:cubicBezTo>
                    <a:cubicBezTo>
                      <a:pt x="50" y="171"/>
                      <a:pt x="53" y="172"/>
                      <a:pt x="53" y="171"/>
                    </a:cubicBezTo>
                    <a:cubicBezTo>
                      <a:pt x="53" y="170"/>
                      <a:pt x="50" y="168"/>
                      <a:pt x="51" y="166"/>
                    </a:cubicBezTo>
                    <a:cubicBezTo>
                      <a:pt x="51" y="165"/>
                      <a:pt x="53" y="165"/>
                      <a:pt x="54" y="165"/>
                    </a:cubicBezTo>
                    <a:cubicBezTo>
                      <a:pt x="58" y="165"/>
                      <a:pt x="61" y="167"/>
                      <a:pt x="65" y="167"/>
                    </a:cubicBezTo>
                    <a:cubicBezTo>
                      <a:pt x="70" y="167"/>
                      <a:pt x="66" y="158"/>
                      <a:pt x="67" y="153"/>
                    </a:cubicBezTo>
                    <a:cubicBezTo>
                      <a:pt x="68" y="149"/>
                      <a:pt x="78" y="131"/>
                      <a:pt x="77" y="122"/>
                    </a:cubicBezTo>
                    <a:cubicBezTo>
                      <a:pt x="79" y="121"/>
                      <a:pt x="80" y="120"/>
                      <a:pt x="82" y="118"/>
                    </a:cubicBezTo>
                    <a:cubicBezTo>
                      <a:pt x="84" y="115"/>
                      <a:pt x="79" y="116"/>
                      <a:pt x="74" y="116"/>
                    </a:cubicBezTo>
                    <a:cubicBezTo>
                      <a:pt x="73" y="115"/>
                      <a:pt x="71" y="116"/>
                      <a:pt x="70" y="116"/>
                    </a:cubicBezTo>
                    <a:cubicBezTo>
                      <a:pt x="69" y="116"/>
                      <a:pt x="68" y="115"/>
                      <a:pt x="68" y="115"/>
                    </a:cubicBezTo>
                    <a:cubicBezTo>
                      <a:pt x="63" y="109"/>
                      <a:pt x="76" y="92"/>
                      <a:pt x="80" y="89"/>
                    </a:cubicBezTo>
                    <a:cubicBezTo>
                      <a:pt x="83" y="88"/>
                      <a:pt x="86" y="91"/>
                      <a:pt x="89" y="91"/>
                    </a:cubicBezTo>
                    <a:cubicBezTo>
                      <a:pt x="132" y="89"/>
                      <a:pt x="45" y="86"/>
                      <a:pt x="110" y="88"/>
                    </a:cubicBezTo>
                    <a:cubicBezTo>
                      <a:pt x="110" y="88"/>
                      <a:pt x="112" y="88"/>
                      <a:pt x="113" y="89"/>
                    </a:cubicBezTo>
                    <a:cubicBezTo>
                      <a:pt x="116" y="95"/>
                      <a:pt x="118" y="121"/>
                      <a:pt x="132" y="115"/>
                    </a:cubicBezTo>
                    <a:cubicBezTo>
                      <a:pt x="137" y="114"/>
                      <a:pt x="128" y="75"/>
                      <a:pt x="141" y="75"/>
                    </a:cubicBezTo>
                    <a:cubicBezTo>
                      <a:pt x="142" y="75"/>
                      <a:pt x="142" y="78"/>
                      <a:pt x="144" y="79"/>
                    </a:cubicBezTo>
                    <a:cubicBezTo>
                      <a:pt x="145" y="80"/>
                      <a:pt x="148" y="80"/>
                      <a:pt x="150" y="80"/>
                    </a:cubicBezTo>
                    <a:cubicBezTo>
                      <a:pt x="156" y="81"/>
                      <a:pt x="162" y="75"/>
                      <a:pt x="167" y="77"/>
                    </a:cubicBezTo>
                    <a:cubicBezTo>
                      <a:pt x="171" y="79"/>
                      <a:pt x="171" y="85"/>
                      <a:pt x="174" y="88"/>
                    </a:cubicBezTo>
                    <a:cubicBezTo>
                      <a:pt x="176" y="93"/>
                      <a:pt x="192" y="122"/>
                      <a:pt x="192" y="102"/>
                    </a:cubicBezTo>
                    <a:cubicBezTo>
                      <a:pt x="192" y="98"/>
                      <a:pt x="183" y="99"/>
                      <a:pt x="180" y="96"/>
                    </a:cubicBezTo>
                    <a:cubicBezTo>
                      <a:pt x="174" y="91"/>
                      <a:pt x="175" y="78"/>
                      <a:pt x="165" y="76"/>
                    </a:cubicBezTo>
                    <a:cubicBezTo>
                      <a:pt x="163" y="76"/>
                      <a:pt x="150" y="79"/>
                      <a:pt x="151" y="71"/>
                    </a:cubicBezTo>
                    <a:cubicBezTo>
                      <a:pt x="152" y="66"/>
                      <a:pt x="159" y="50"/>
                      <a:pt x="154" y="44"/>
                    </a:cubicBezTo>
                    <a:cubicBezTo>
                      <a:pt x="153" y="42"/>
                      <a:pt x="140" y="49"/>
                      <a:pt x="139" y="42"/>
                    </a:cubicBezTo>
                    <a:cubicBezTo>
                      <a:pt x="138" y="41"/>
                      <a:pt x="142" y="42"/>
                      <a:pt x="142" y="41"/>
                    </a:cubicBezTo>
                    <a:cubicBezTo>
                      <a:pt x="144" y="40"/>
                      <a:pt x="139" y="38"/>
                      <a:pt x="140" y="38"/>
                    </a:cubicBezTo>
                    <a:cubicBezTo>
                      <a:pt x="145" y="36"/>
                      <a:pt x="155" y="42"/>
                      <a:pt x="157" y="30"/>
                    </a:cubicBezTo>
                    <a:cubicBezTo>
                      <a:pt x="157" y="29"/>
                      <a:pt x="144" y="15"/>
                      <a:pt x="142" y="13"/>
                    </a:cubicBezTo>
                    <a:cubicBezTo>
                      <a:pt x="141" y="9"/>
                      <a:pt x="140" y="4"/>
                      <a:pt x="140" y="0"/>
                    </a:cubicBezTo>
                    <a:cubicBezTo>
                      <a:pt x="144" y="1"/>
                      <a:pt x="151" y="0"/>
                      <a:pt x="153" y="0"/>
                    </a:cubicBezTo>
                    <a:cubicBezTo>
                      <a:pt x="160" y="2"/>
                      <a:pt x="167" y="6"/>
                      <a:pt x="175" y="7"/>
                    </a:cubicBezTo>
                    <a:cubicBezTo>
                      <a:pt x="174" y="8"/>
                      <a:pt x="174" y="9"/>
                      <a:pt x="175" y="8"/>
                    </a:cubicBezTo>
                    <a:cubicBezTo>
                      <a:pt x="178" y="7"/>
                      <a:pt x="179" y="4"/>
                      <a:pt x="181" y="3"/>
                    </a:cubicBezTo>
                    <a:cubicBezTo>
                      <a:pt x="182" y="3"/>
                      <a:pt x="180" y="6"/>
                      <a:pt x="181" y="7"/>
                    </a:cubicBezTo>
                    <a:cubicBezTo>
                      <a:pt x="183" y="8"/>
                      <a:pt x="185" y="8"/>
                      <a:pt x="187" y="8"/>
                    </a:cubicBezTo>
                    <a:cubicBezTo>
                      <a:pt x="191" y="9"/>
                      <a:pt x="195" y="9"/>
                      <a:pt x="197" y="11"/>
                    </a:cubicBezTo>
                    <a:cubicBezTo>
                      <a:pt x="199" y="12"/>
                      <a:pt x="200" y="14"/>
                      <a:pt x="200" y="16"/>
                    </a:cubicBezTo>
                    <a:cubicBezTo>
                      <a:pt x="200" y="16"/>
                      <a:pt x="199" y="16"/>
                      <a:pt x="199" y="16"/>
                    </a:cubicBezTo>
                    <a:cubicBezTo>
                      <a:pt x="197" y="16"/>
                      <a:pt x="195" y="17"/>
                      <a:pt x="196" y="18"/>
                    </a:cubicBezTo>
                    <a:cubicBezTo>
                      <a:pt x="197" y="19"/>
                      <a:pt x="200" y="17"/>
                      <a:pt x="200" y="18"/>
                    </a:cubicBezTo>
                    <a:cubicBezTo>
                      <a:pt x="202" y="21"/>
                      <a:pt x="201" y="24"/>
                      <a:pt x="200" y="27"/>
                    </a:cubicBezTo>
                    <a:cubicBezTo>
                      <a:pt x="199" y="30"/>
                      <a:pt x="191" y="32"/>
                      <a:pt x="193" y="34"/>
                    </a:cubicBezTo>
                    <a:cubicBezTo>
                      <a:pt x="196" y="38"/>
                      <a:pt x="207" y="28"/>
                      <a:pt x="208" y="33"/>
                    </a:cubicBezTo>
                    <a:cubicBezTo>
                      <a:pt x="208" y="37"/>
                      <a:pt x="202" y="43"/>
                      <a:pt x="205" y="44"/>
                    </a:cubicBezTo>
                    <a:cubicBezTo>
                      <a:pt x="209" y="46"/>
                      <a:pt x="209" y="36"/>
                      <a:pt x="213" y="36"/>
                    </a:cubicBezTo>
                    <a:cubicBezTo>
                      <a:pt x="217" y="35"/>
                      <a:pt x="230" y="46"/>
                      <a:pt x="232" y="45"/>
                    </a:cubicBezTo>
                    <a:cubicBezTo>
                      <a:pt x="233" y="45"/>
                      <a:pt x="244" y="32"/>
                      <a:pt x="248" y="39"/>
                    </a:cubicBezTo>
                    <a:cubicBezTo>
                      <a:pt x="256" y="54"/>
                      <a:pt x="217" y="69"/>
                      <a:pt x="238" y="71"/>
                    </a:cubicBezTo>
                    <a:cubicBezTo>
                      <a:pt x="243" y="72"/>
                      <a:pt x="246" y="66"/>
                      <a:pt x="251" y="66"/>
                    </a:cubicBezTo>
                    <a:cubicBezTo>
                      <a:pt x="256" y="67"/>
                      <a:pt x="250" y="83"/>
                      <a:pt x="262" y="75"/>
                    </a:cubicBezTo>
                    <a:cubicBezTo>
                      <a:pt x="265" y="73"/>
                      <a:pt x="267" y="59"/>
                      <a:pt x="272" y="56"/>
                    </a:cubicBezTo>
                    <a:cubicBezTo>
                      <a:pt x="279" y="52"/>
                      <a:pt x="287" y="50"/>
                      <a:pt x="291" y="58"/>
                    </a:cubicBezTo>
                    <a:cubicBezTo>
                      <a:pt x="290" y="56"/>
                      <a:pt x="290" y="54"/>
                      <a:pt x="290" y="53"/>
                    </a:cubicBezTo>
                    <a:cubicBezTo>
                      <a:pt x="294" y="49"/>
                      <a:pt x="298" y="47"/>
                      <a:pt x="301" y="44"/>
                    </a:cubicBezTo>
                    <a:cubicBezTo>
                      <a:pt x="304" y="40"/>
                      <a:pt x="305" y="34"/>
                      <a:pt x="308" y="30"/>
                    </a:cubicBezTo>
                    <a:cubicBezTo>
                      <a:pt x="309" y="29"/>
                      <a:pt x="317" y="32"/>
                      <a:pt x="324" y="34"/>
                    </a:cubicBezTo>
                    <a:cubicBezTo>
                      <a:pt x="326" y="33"/>
                      <a:pt x="329" y="33"/>
                      <a:pt x="330" y="33"/>
                    </a:cubicBezTo>
                    <a:cubicBezTo>
                      <a:pt x="334" y="33"/>
                      <a:pt x="332" y="41"/>
                      <a:pt x="334" y="44"/>
                    </a:cubicBezTo>
                    <a:cubicBezTo>
                      <a:pt x="336" y="46"/>
                      <a:pt x="340" y="45"/>
                      <a:pt x="342" y="47"/>
                    </a:cubicBezTo>
                    <a:cubicBezTo>
                      <a:pt x="345" y="50"/>
                      <a:pt x="347" y="58"/>
                      <a:pt x="352" y="58"/>
                    </a:cubicBezTo>
                    <a:cubicBezTo>
                      <a:pt x="356" y="58"/>
                      <a:pt x="360" y="55"/>
                      <a:pt x="365" y="56"/>
                    </a:cubicBezTo>
                    <a:cubicBezTo>
                      <a:pt x="367" y="56"/>
                      <a:pt x="363" y="59"/>
                      <a:pt x="363" y="61"/>
                    </a:cubicBezTo>
                    <a:cubicBezTo>
                      <a:pt x="363" y="66"/>
                      <a:pt x="365" y="70"/>
                      <a:pt x="367" y="75"/>
                    </a:cubicBezTo>
                    <a:cubicBezTo>
                      <a:pt x="368" y="79"/>
                      <a:pt x="374" y="81"/>
                      <a:pt x="378" y="82"/>
                    </a:cubicBezTo>
                    <a:cubicBezTo>
                      <a:pt x="382" y="84"/>
                      <a:pt x="384" y="84"/>
                      <a:pt x="386" y="84"/>
                    </a:cubicBezTo>
                    <a:close/>
                    <a:moveTo>
                      <a:pt x="334" y="40"/>
                    </a:moveTo>
                    <a:cubicBezTo>
                      <a:pt x="335" y="35"/>
                      <a:pt x="333" y="29"/>
                      <a:pt x="335" y="24"/>
                    </a:cubicBezTo>
                    <a:cubicBezTo>
                      <a:pt x="337" y="19"/>
                      <a:pt x="354" y="33"/>
                      <a:pt x="350" y="28"/>
                    </a:cubicBezTo>
                    <a:cubicBezTo>
                      <a:pt x="348" y="25"/>
                      <a:pt x="341" y="26"/>
                      <a:pt x="339" y="23"/>
                    </a:cubicBezTo>
                    <a:cubicBezTo>
                      <a:pt x="338" y="19"/>
                      <a:pt x="343" y="16"/>
                      <a:pt x="346" y="13"/>
                    </a:cubicBezTo>
                    <a:cubicBezTo>
                      <a:pt x="348" y="12"/>
                      <a:pt x="344" y="20"/>
                      <a:pt x="346" y="21"/>
                    </a:cubicBezTo>
                    <a:cubicBezTo>
                      <a:pt x="350" y="22"/>
                      <a:pt x="354" y="20"/>
                      <a:pt x="357" y="21"/>
                    </a:cubicBezTo>
                    <a:cubicBezTo>
                      <a:pt x="361" y="23"/>
                      <a:pt x="353" y="27"/>
                      <a:pt x="354" y="30"/>
                    </a:cubicBezTo>
                    <a:cubicBezTo>
                      <a:pt x="355" y="34"/>
                      <a:pt x="360" y="35"/>
                      <a:pt x="362" y="39"/>
                    </a:cubicBezTo>
                    <a:cubicBezTo>
                      <a:pt x="363" y="40"/>
                      <a:pt x="356" y="46"/>
                      <a:pt x="347" y="48"/>
                    </a:cubicBezTo>
                    <a:cubicBezTo>
                      <a:pt x="342" y="50"/>
                      <a:pt x="338" y="43"/>
                      <a:pt x="334" y="4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1" name="Cyprus"/>
              <p:cNvSpPr>
                <a:spLocks/>
              </p:cNvSpPr>
              <p:nvPr/>
            </p:nvSpPr>
            <p:spPr bwMode="auto">
              <a:xfrm>
                <a:off x="7343824" y="6159771"/>
                <a:ext cx="213260" cy="210261"/>
              </a:xfrm>
              <a:custGeom>
                <a:avLst/>
                <a:gdLst>
                  <a:gd name="T0" fmla="*/ 127 w 127"/>
                  <a:gd name="T1" fmla="*/ 0 h 117"/>
                  <a:gd name="T2" fmla="*/ 97 w 127"/>
                  <a:gd name="T3" fmla="*/ 42 h 117"/>
                  <a:gd name="T4" fmla="*/ 114 w 127"/>
                  <a:gd name="T5" fmla="*/ 60 h 117"/>
                  <a:gd name="T6" fmla="*/ 106 w 127"/>
                  <a:gd name="T7" fmla="*/ 61 h 117"/>
                  <a:gd name="T8" fmla="*/ 101 w 127"/>
                  <a:gd name="T9" fmla="*/ 66 h 117"/>
                  <a:gd name="T10" fmla="*/ 89 w 127"/>
                  <a:gd name="T11" fmla="*/ 69 h 117"/>
                  <a:gd name="T12" fmla="*/ 88 w 127"/>
                  <a:gd name="T13" fmla="*/ 80 h 117"/>
                  <a:gd name="T14" fmla="*/ 59 w 127"/>
                  <a:gd name="T15" fmla="*/ 99 h 117"/>
                  <a:gd name="T16" fmla="*/ 59 w 127"/>
                  <a:gd name="T17" fmla="*/ 108 h 117"/>
                  <a:gd name="T18" fmla="*/ 48 w 127"/>
                  <a:gd name="T19" fmla="*/ 104 h 117"/>
                  <a:gd name="T20" fmla="*/ 39 w 127"/>
                  <a:gd name="T21" fmla="*/ 110 h 117"/>
                  <a:gd name="T22" fmla="*/ 18 w 127"/>
                  <a:gd name="T23" fmla="*/ 107 h 117"/>
                  <a:gd name="T24" fmla="*/ 16 w 127"/>
                  <a:gd name="T25" fmla="*/ 102 h 117"/>
                  <a:gd name="T26" fmla="*/ 5 w 127"/>
                  <a:gd name="T27" fmla="*/ 85 h 117"/>
                  <a:gd name="T28" fmla="*/ 12 w 127"/>
                  <a:gd name="T29" fmla="*/ 87 h 117"/>
                  <a:gd name="T30" fmla="*/ 19 w 127"/>
                  <a:gd name="T31" fmla="*/ 75 h 117"/>
                  <a:gd name="T32" fmla="*/ 38 w 127"/>
                  <a:gd name="T33" fmla="*/ 70 h 117"/>
                  <a:gd name="T34" fmla="*/ 40 w 127"/>
                  <a:gd name="T35" fmla="*/ 60 h 117"/>
                  <a:gd name="T36" fmla="*/ 36 w 127"/>
                  <a:gd name="T37" fmla="*/ 51 h 117"/>
                  <a:gd name="T38" fmla="*/ 46 w 127"/>
                  <a:gd name="T39" fmla="*/ 52 h 117"/>
                  <a:gd name="T40" fmla="*/ 75 w 127"/>
                  <a:gd name="T41" fmla="*/ 44 h 117"/>
                  <a:gd name="T42" fmla="*/ 127 w 127"/>
                  <a:gd name="T4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7" h="117">
                    <a:moveTo>
                      <a:pt x="127" y="0"/>
                    </a:moveTo>
                    <a:cubicBezTo>
                      <a:pt x="127" y="9"/>
                      <a:pt x="101" y="31"/>
                      <a:pt x="97" y="42"/>
                    </a:cubicBezTo>
                    <a:cubicBezTo>
                      <a:pt x="92" y="54"/>
                      <a:pt x="117" y="56"/>
                      <a:pt x="114" y="60"/>
                    </a:cubicBezTo>
                    <a:cubicBezTo>
                      <a:pt x="113" y="63"/>
                      <a:pt x="108" y="60"/>
                      <a:pt x="106" y="61"/>
                    </a:cubicBezTo>
                    <a:cubicBezTo>
                      <a:pt x="104" y="61"/>
                      <a:pt x="103" y="65"/>
                      <a:pt x="101" y="66"/>
                    </a:cubicBezTo>
                    <a:cubicBezTo>
                      <a:pt x="97" y="68"/>
                      <a:pt x="92" y="66"/>
                      <a:pt x="89" y="69"/>
                    </a:cubicBezTo>
                    <a:cubicBezTo>
                      <a:pt x="87" y="72"/>
                      <a:pt x="89" y="77"/>
                      <a:pt x="88" y="80"/>
                    </a:cubicBezTo>
                    <a:cubicBezTo>
                      <a:pt x="83" y="87"/>
                      <a:pt x="63" y="93"/>
                      <a:pt x="59" y="99"/>
                    </a:cubicBezTo>
                    <a:cubicBezTo>
                      <a:pt x="57" y="102"/>
                      <a:pt x="61" y="106"/>
                      <a:pt x="59" y="108"/>
                    </a:cubicBezTo>
                    <a:cubicBezTo>
                      <a:pt x="54" y="117"/>
                      <a:pt x="50" y="104"/>
                      <a:pt x="48" y="104"/>
                    </a:cubicBezTo>
                    <a:cubicBezTo>
                      <a:pt x="45" y="104"/>
                      <a:pt x="43" y="108"/>
                      <a:pt x="39" y="110"/>
                    </a:cubicBezTo>
                    <a:cubicBezTo>
                      <a:pt x="37" y="110"/>
                      <a:pt x="19" y="107"/>
                      <a:pt x="18" y="107"/>
                    </a:cubicBezTo>
                    <a:cubicBezTo>
                      <a:pt x="16" y="106"/>
                      <a:pt x="17" y="103"/>
                      <a:pt x="16" y="102"/>
                    </a:cubicBezTo>
                    <a:cubicBezTo>
                      <a:pt x="14" y="100"/>
                      <a:pt x="0" y="84"/>
                      <a:pt x="5" y="85"/>
                    </a:cubicBezTo>
                    <a:cubicBezTo>
                      <a:pt x="7" y="85"/>
                      <a:pt x="9" y="87"/>
                      <a:pt x="12" y="87"/>
                    </a:cubicBezTo>
                    <a:cubicBezTo>
                      <a:pt x="17" y="87"/>
                      <a:pt x="18" y="77"/>
                      <a:pt x="19" y="75"/>
                    </a:cubicBezTo>
                    <a:cubicBezTo>
                      <a:pt x="23" y="69"/>
                      <a:pt x="34" y="73"/>
                      <a:pt x="38" y="70"/>
                    </a:cubicBezTo>
                    <a:cubicBezTo>
                      <a:pt x="41" y="68"/>
                      <a:pt x="40" y="64"/>
                      <a:pt x="40" y="60"/>
                    </a:cubicBezTo>
                    <a:cubicBezTo>
                      <a:pt x="39" y="57"/>
                      <a:pt x="34" y="54"/>
                      <a:pt x="36" y="51"/>
                    </a:cubicBezTo>
                    <a:cubicBezTo>
                      <a:pt x="38" y="49"/>
                      <a:pt x="43" y="52"/>
                      <a:pt x="46" y="52"/>
                    </a:cubicBezTo>
                    <a:cubicBezTo>
                      <a:pt x="53" y="51"/>
                      <a:pt x="69" y="47"/>
                      <a:pt x="75" y="44"/>
                    </a:cubicBezTo>
                    <a:cubicBezTo>
                      <a:pt x="83" y="39"/>
                      <a:pt x="127" y="0"/>
                      <a:pt x="127" y="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2" name="Ireland"/>
              <p:cNvSpPr>
                <a:spLocks/>
              </p:cNvSpPr>
              <p:nvPr/>
            </p:nvSpPr>
            <p:spPr bwMode="auto">
              <a:xfrm>
                <a:off x="3543650" y="3824601"/>
                <a:ext cx="380609" cy="461937"/>
              </a:xfrm>
              <a:custGeom>
                <a:avLst/>
                <a:gdLst>
                  <a:gd name="T0" fmla="*/ 212 w 227"/>
                  <a:gd name="T1" fmla="*/ 110 h 256"/>
                  <a:gd name="T2" fmla="*/ 219 w 227"/>
                  <a:gd name="T3" fmla="*/ 139 h 256"/>
                  <a:gd name="T4" fmla="*/ 210 w 227"/>
                  <a:gd name="T5" fmla="*/ 153 h 256"/>
                  <a:gd name="T6" fmla="*/ 213 w 227"/>
                  <a:gd name="T7" fmla="*/ 183 h 256"/>
                  <a:gd name="T8" fmla="*/ 184 w 227"/>
                  <a:gd name="T9" fmla="*/ 236 h 256"/>
                  <a:gd name="T10" fmla="*/ 169 w 227"/>
                  <a:gd name="T11" fmla="*/ 231 h 256"/>
                  <a:gd name="T12" fmla="*/ 147 w 227"/>
                  <a:gd name="T13" fmla="*/ 231 h 256"/>
                  <a:gd name="T14" fmla="*/ 119 w 227"/>
                  <a:gd name="T15" fmla="*/ 239 h 256"/>
                  <a:gd name="T16" fmla="*/ 89 w 227"/>
                  <a:gd name="T17" fmla="*/ 236 h 256"/>
                  <a:gd name="T18" fmla="*/ 77 w 227"/>
                  <a:gd name="T19" fmla="*/ 255 h 256"/>
                  <a:gd name="T20" fmla="*/ 69 w 227"/>
                  <a:gd name="T21" fmla="*/ 255 h 256"/>
                  <a:gd name="T22" fmla="*/ 35 w 227"/>
                  <a:gd name="T23" fmla="*/ 248 h 256"/>
                  <a:gd name="T24" fmla="*/ 36 w 227"/>
                  <a:gd name="T25" fmla="*/ 233 h 256"/>
                  <a:gd name="T26" fmla="*/ 17 w 227"/>
                  <a:gd name="T27" fmla="*/ 229 h 256"/>
                  <a:gd name="T28" fmla="*/ 36 w 227"/>
                  <a:gd name="T29" fmla="*/ 222 h 256"/>
                  <a:gd name="T30" fmla="*/ 7 w 227"/>
                  <a:gd name="T31" fmla="*/ 212 h 256"/>
                  <a:gd name="T32" fmla="*/ 33 w 227"/>
                  <a:gd name="T33" fmla="*/ 201 h 256"/>
                  <a:gd name="T34" fmla="*/ 4 w 227"/>
                  <a:gd name="T35" fmla="*/ 188 h 256"/>
                  <a:gd name="T36" fmla="*/ 24 w 227"/>
                  <a:gd name="T37" fmla="*/ 186 h 256"/>
                  <a:gd name="T38" fmla="*/ 43 w 227"/>
                  <a:gd name="T39" fmla="*/ 176 h 256"/>
                  <a:gd name="T40" fmla="*/ 79 w 227"/>
                  <a:gd name="T41" fmla="*/ 171 h 256"/>
                  <a:gd name="T42" fmla="*/ 65 w 227"/>
                  <a:gd name="T43" fmla="*/ 171 h 256"/>
                  <a:gd name="T44" fmla="*/ 53 w 227"/>
                  <a:gd name="T45" fmla="*/ 165 h 256"/>
                  <a:gd name="T46" fmla="*/ 53 w 227"/>
                  <a:gd name="T47" fmla="*/ 160 h 256"/>
                  <a:gd name="T48" fmla="*/ 68 w 227"/>
                  <a:gd name="T49" fmla="*/ 149 h 256"/>
                  <a:gd name="T50" fmla="*/ 75 w 227"/>
                  <a:gd name="T51" fmla="*/ 134 h 256"/>
                  <a:gd name="T52" fmla="*/ 88 w 227"/>
                  <a:gd name="T53" fmla="*/ 132 h 256"/>
                  <a:gd name="T54" fmla="*/ 65 w 227"/>
                  <a:gd name="T55" fmla="*/ 114 h 256"/>
                  <a:gd name="T56" fmla="*/ 51 w 227"/>
                  <a:gd name="T57" fmla="*/ 92 h 256"/>
                  <a:gd name="T58" fmla="*/ 77 w 227"/>
                  <a:gd name="T59" fmla="*/ 84 h 256"/>
                  <a:gd name="T60" fmla="*/ 66 w 227"/>
                  <a:gd name="T61" fmla="*/ 64 h 256"/>
                  <a:gd name="T62" fmla="*/ 64 w 227"/>
                  <a:gd name="T63" fmla="*/ 47 h 256"/>
                  <a:gd name="T64" fmla="*/ 101 w 227"/>
                  <a:gd name="T65" fmla="*/ 62 h 256"/>
                  <a:gd name="T66" fmla="*/ 124 w 227"/>
                  <a:gd name="T67" fmla="*/ 54 h 256"/>
                  <a:gd name="T68" fmla="*/ 145 w 227"/>
                  <a:gd name="T69" fmla="*/ 41 h 256"/>
                  <a:gd name="T70" fmla="*/ 137 w 227"/>
                  <a:gd name="T71" fmla="*/ 37 h 256"/>
                  <a:gd name="T72" fmla="*/ 138 w 227"/>
                  <a:gd name="T73" fmla="*/ 22 h 256"/>
                  <a:gd name="T74" fmla="*/ 148 w 227"/>
                  <a:gd name="T75" fmla="*/ 15 h 256"/>
                  <a:gd name="T76" fmla="*/ 186 w 227"/>
                  <a:gd name="T77" fmla="*/ 9 h 256"/>
                  <a:gd name="T78" fmla="*/ 188 w 227"/>
                  <a:gd name="T79" fmla="*/ 11 h 256"/>
                  <a:gd name="T80" fmla="*/ 163 w 227"/>
                  <a:gd name="T81" fmla="*/ 39 h 256"/>
                  <a:gd name="T82" fmla="*/ 175 w 227"/>
                  <a:gd name="T83" fmla="*/ 85 h 256"/>
                  <a:gd name="T84" fmla="*/ 207 w 227"/>
                  <a:gd name="T85" fmla="*/ 91 h 256"/>
                  <a:gd name="T86" fmla="*/ 223 w 227"/>
                  <a:gd name="T87" fmla="*/ 101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7" h="256">
                    <a:moveTo>
                      <a:pt x="221" y="100"/>
                    </a:moveTo>
                    <a:cubicBezTo>
                      <a:pt x="222" y="102"/>
                      <a:pt x="227" y="105"/>
                      <a:pt x="225" y="107"/>
                    </a:cubicBezTo>
                    <a:cubicBezTo>
                      <a:pt x="223" y="111"/>
                      <a:pt x="216" y="108"/>
                      <a:pt x="212" y="110"/>
                    </a:cubicBezTo>
                    <a:cubicBezTo>
                      <a:pt x="211" y="112"/>
                      <a:pt x="217" y="113"/>
                      <a:pt x="217" y="115"/>
                    </a:cubicBezTo>
                    <a:cubicBezTo>
                      <a:pt x="218" y="120"/>
                      <a:pt x="215" y="124"/>
                      <a:pt x="215" y="129"/>
                    </a:cubicBezTo>
                    <a:cubicBezTo>
                      <a:pt x="215" y="133"/>
                      <a:pt x="219" y="135"/>
                      <a:pt x="219" y="139"/>
                    </a:cubicBezTo>
                    <a:cubicBezTo>
                      <a:pt x="219" y="142"/>
                      <a:pt x="215" y="144"/>
                      <a:pt x="215" y="147"/>
                    </a:cubicBezTo>
                    <a:cubicBezTo>
                      <a:pt x="214" y="149"/>
                      <a:pt x="219" y="152"/>
                      <a:pt x="218" y="154"/>
                    </a:cubicBezTo>
                    <a:cubicBezTo>
                      <a:pt x="216" y="156"/>
                      <a:pt x="211" y="151"/>
                      <a:pt x="210" y="153"/>
                    </a:cubicBezTo>
                    <a:cubicBezTo>
                      <a:pt x="208" y="156"/>
                      <a:pt x="213" y="158"/>
                      <a:pt x="214" y="161"/>
                    </a:cubicBezTo>
                    <a:cubicBezTo>
                      <a:pt x="214" y="162"/>
                      <a:pt x="212" y="163"/>
                      <a:pt x="212" y="164"/>
                    </a:cubicBezTo>
                    <a:cubicBezTo>
                      <a:pt x="213" y="171"/>
                      <a:pt x="215" y="176"/>
                      <a:pt x="213" y="183"/>
                    </a:cubicBezTo>
                    <a:cubicBezTo>
                      <a:pt x="211" y="188"/>
                      <a:pt x="191" y="217"/>
                      <a:pt x="188" y="220"/>
                    </a:cubicBezTo>
                    <a:cubicBezTo>
                      <a:pt x="187" y="221"/>
                      <a:pt x="184" y="222"/>
                      <a:pt x="184" y="224"/>
                    </a:cubicBezTo>
                    <a:cubicBezTo>
                      <a:pt x="182" y="228"/>
                      <a:pt x="184" y="232"/>
                      <a:pt x="184" y="236"/>
                    </a:cubicBezTo>
                    <a:cubicBezTo>
                      <a:pt x="184" y="237"/>
                      <a:pt x="182" y="237"/>
                      <a:pt x="182" y="236"/>
                    </a:cubicBezTo>
                    <a:cubicBezTo>
                      <a:pt x="181" y="232"/>
                      <a:pt x="180" y="238"/>
                      <a:pt x="174" y="235"/>
                    </a:cubicBezTo>
                    <a:cubicBezTo>
                      <a:pt x="172" y="235"/>
                      <a:pt x="172" y="231"/>
                      <a:pt x="169" y="231"/>
                    </a:cubicBezTo>
                    <a:cubicBezTo>
                      <a:pt x="165" y="230"/>
                      <a:pt x="153" y="236"/>
                      <a:pt x="150" y="232"/>
                    </a:cubicBezTo>
                    <a:cubicBezTo>
                      <a:pt x="150" y="231"/>
                      <a:pt x="152" y="231"/>
                      <a:pt x="152" y="230"/>
                    </a:cubicBezTo>
                    <a:cubicBezTo>
                      <a:pt x="153" y="229"/>
                      <a:pt x="148" y="232"/>
                      <a:pt x="147" y="231"/>
                    </a:cubicBezTo>
                    <a:cubicBezTo>
                      <a:pt x="138" y="231"/>
                      <a:pt x="135" y="226"/>
                      <a:pt x="128" y="229"/>
                    </a:cubicBezTo>
                    <a:cubicBezTo>
                      <a:pt x="126" y="230"/>
                      <a:pt x="130" y="232"/>
                      <a:pt x="130" y="234"/>
                    </a:cubicBezTo>
                    <a:cubicBezTo>
                      <a:pt x="129" y="236"/>
                      <a:pt x="119" y="239"/>
                      <a:pt x="119" y="239"/>
                    </a:cubicBezTo>
                    <a:cubicBezTo>
                      <a:pt x="117" y="239"/>
                      <a:pt x="116" y="235"/>
                      <a:pt x="113" y="236"/>
                    </a:cubicBezTo>
                    <a:cubicBezTo>
                      <a:pt x="109" y="238"/>
                      <a:pt x="108" y="243"/>
                      <a:pt x="104" y="245"/>
                    </a:cubicBezTo>
                    <a:cubicBezTo>
                      <a:pt x="92" y="251"/>
                      <a:pt x="100" y="234"/>
                      <a:pt x="89" y="236"/>
                    </a:cubicBezTo>
                    <a:cubicBezTo>
                      <a:pt x="86" y="236"/>
                      <a:pt x="92" y="243"/>
                      <a:pt x="91" y="245"/>
                    </a:cubicBezTo>
                    <a:cubicBezTo>
                      <a:pt x="89" y="248"/>
                      <a:pt x="85" y="248"/>
                      <a:pt x="82" y="249"/>
                    </a:cubicBezTo>
                    <a:cubicBezTo>
                      <a:pt x="81" y="251"/>
                      <a:pt x="79" y="254"/>
                      <a:pt x="77" y="255"/>
                    </a:cubicBezTo>
                    <a:cubicBezTo>
                      <a:pt x="76" y="255"/>
                      <a:pt x="77" y="252"/>
                      <a:pt x="75" y="252"/>
                    </a:cubicBezTo>
                    <a:cubicBezTo>
                      <a:pt x="74" y="251"/>
                      <a:pt x="73" y="249"/>
                      <a:pt x="71" y="250"/>
                    </a:cubicBezTo>
                    <a:cubicBezTo>
                      <a:pt x="70" y="251"/>
                      <a:pt x="71" y="255"/>
                      <a:pt x="69" y="255"/>
                    </a:cubicBezTo>
                    <a:cubicBezTo>
                      <a:pt x="64" y="256"/>
                      <a:pt x="53" y="249"/>
                      <a:pt x="50" y="249"/>
                    </a:cubicBezTo>
                    <a:cubicBezTo>
                      <a:pt x="46" y="250"/>
                      <a:pt x="42" y="253"/>
                      <a:pt x="38" y="254"/>
                    </a:cubicBezTo>
                    <a:cubicBezTo>
                      <a:pt x="27" y="255"/>
                      <a:pt x="44" y="246"/>
                      <a:pt x="35" y="248"/>
                    </a:cubicBezTo>
                    <a:cubicBezTo>
                      <a:pt x="32" y="249"/>
                      <a:pt x="18" y="251"/>
                      <a:pt x="17" y="249"/>
                    </a:cubicBezTo>
                    <a:cubicBezTo>
                      <a:pt x="15" y="246"/>
                      <a:pt x="36" y="240"/>
                      <a:pt x="39" y="235"/>
                    </a:cubicBezTo>
                    <a:cubicBezTo>
                      <a:pt x="39" y="234"/>
                      <a:pt x="37" y="234"/>
                      <a:pt x="36" y="233"/>
                    </a:cubicBezTo>
                    <a:cubicBezTo>
                      <a:pt x="35" y="232"/>
                      <a:pt x="22" y="235"/>
                      <a:pt x="6" y="233"/>
                    </a:cubicBezTo>
                    <a:cubicBezTo>
                      <a:pt x="5" y="233"/>
                      <a:pt x="7" y="232"/>
                      <a:pt x="14" y="230"/>
                    </a:cubicBezTo>
                    <a:cubicBezTo>
                      <a:pt x="16" y="230"/>
                      <a:pt x="17" y="230"/>
                      <a:pt x="17" y="229"/>
                    </a:cubicBezTo>
                    <a:cubicBezTo>
                      <a:pt x="17" y="228"/>
                      <a:pt x="15" y="227"/>
                      <a:pt x="16" y="227"/>
                    </a:cubicBezTo>
                    <a:cubicBezTo>
                      <a:pt x="21" y="222"/>
                      <a:pt x="18" y="230"/>
                      <a:pt x="25" y="227"/>
                    </a:cubicBezTo>
                    <a:cubicBezTo>
                      <a:pt x="29" y="226"/>
                      <a:pt x="38" y="225"/>
                      <a:pt x="36" y="222"/>
                    </a:cubicBezTo>
                    <a:cubicBezTo>
                      <a:pt x="35" y="222"/>
                      <a:pt x="10" y="225"/>
                      <a:pt x="9" y="225"/>
                    </a:cubicBezTo>
                    <a:cubicBezTo>
                      <a:pt x="4" y="224"/>
                      <a:pt x="0" y="216"/>
                      <a:pt x="0" y="210"/>
                    </a:cubicBezTo>
                    <a:cubicBezTo>
                      <a:pt x="1" y="208"/>
                      <a:pt x="5" y="213"/>
                      <a:pt x="7" y="212"/>
                    </a:cubicBezTo>
                    <a:cubicBezTo>
                      <a:pt x="9" y="210"/>
                      <a:pt x="6" y="209"/>
                      <a:pt x="6" y="207"/>
                    </a:cubicBezTo>
                    <a:cubicBezTo>
                      <a:pt x="7" y="202"/>
                      <a:pt x="16" y="205"/>
                      <a:pt x="21" y="204"/>
                    </a:cubicBezTo>
                    <a:cubicBezTo>
                      <a:pt x="25" y="203"/>
                      <a:pt x="30" y="204"/>
                      <a:pt x="33" y="201"/>
                    </a:cubicBezTo>
                    <a:cubicBezTo>
                      <a:pt x="35" y="199"/>
                      <a:pt x="27" y="195"/>
                      <a:pt x="25" y="197"/>
                    </a:cubicBezTo>
                    <a:cubicBezTo>
                      <a:pt x="24" y="198"/>
                      <a:pt x="26" y="200"/>
                      <a:pt x="25" y="201"/>
                    </a:cubicBezTo>
                    <a:cubicBezTo>
                      <a:pt x="24" y="201"/>
                      <a:pt x="7" y="193"/>
                      <a:pt x="4" y="188"/>
                    </a:cubicBezTo>
                    <a:cubicBezTo>
                      <a:pt x="3" y="187"/>
                      <a:pt x="7" y="190"/>
                      <a:pt x="8" y="189"/>
                    </a:cubicBezTo>
                    <a:cubicBezTo>
                      <a:pt x="9" y="189"/>
                      <a:pt x="8" y="187"/>
                      <a:pt x="9" y="186"/>
                    </a:cubicBezTo>
                    <a:cubicBezTo>
                      <a:pt x="12" y="184"/>
                      <a:pt x="20" y="185"/>
                      <a:pt x="24" y="186"/>
                    </a:cubicBezTo>
                    <a:cubicBezTo>
                      <a:pt x="29" y="186"/>
                      <a:pt x="32" y="191"/>
                      <a:pt x="37" y="193"/>
                    </a:cubicBezTo>
                    <a:cubicBezTo>
                      <a:pt x="42" y="195"/>
                      <a:pt x="29" y="184"/>
                      <a:pt x="31" y="179"/>
                    </a:cubicBezTo>
                    <a:cubicBezTo>
                      <a:pt x="32" y="175"/>
                      <a:pt x="39" y="178"/>
                      <a:pt x="43" y="176"/>
                    </a:cubicBezTo>
                    <a:cubicBezTo>
                      <a:pt x="46" y="175"/>
                      <a:pt x="46" y="172"/>
                      <a:pt x="48" y="171"/>
                    </a:cubicBezTo>
                    <a:cubicBezTo>
                      <a:pt x="48" y="171"/>
                      <a:pt x="85" y="178"/>
                      <a:pt x="89" y="175"/>
                    </a:cubicBezTo>
                    <a:cubicBezTo>
                      <a:pt x="91" y="174"/>
                      <a:pt x="81" y="174"/>
                      <a:pt x="79" y="171"/>
                    </a:cubicBezTo>
                    <a:cubicBezTo>
                      <a:pt x="79" y="170"/>
                      <a:pt x="81" y="167"/>
                      <a:pt x="81" y="165"/>
                    </a:cubicBezTo>
                    <a:cubicBezTo>
                      <a:pt x="80" y="164"/>
                      <a:pt x="69" y="175"/>
                      <a:pt x="63" y="175"/>
                    </a:cubicBezTo>
                    <a:cubicBezTo>
                      <a:pt x="62" y="174"/>
                      <a:pt x="66" y="171"/>
                      <a:pt x="65" y="171"/>
                    </a:cubicBezTo>
                    <a:cubicBezTo>
                      <a:pt x="63" y="170"/>
                      <a:pt x="61" y="172"/>
                      <a:pt x="59" y="172"/>
                    </a:cubicBezTo>
                    <a:cubicBezTo>
                      <a:pt x="56" y="171"/>
                      <a:pt x="55" y="170"/>
                      <a:pt x="53" y="168"/>
                    </a:cubicBezTo>
                    <a:cubicBezTo>
                      <a:pt x="53" y="167"/>
                      <a:pt x="54" y="166"/>
                      <a:pt x="53" y="165"/>
                    </a:cubicBezTo>
                    <a:cubicBezTo>
                      <a:pt x="53" y="165"/>
                      <a:pt x="37" y="169"/>
                      <a:pt x="35" y="167"/>
                    </a:cubicBezTo>
                    <a:cubicBezTo>
                      <a:pt x="33" y="167"/>
                      <a:pt x="39" y="167"/>
                      <a:pt x="40" y="167"/>
                    </a:cubicBezTo>
                    <a:cubicBezTo>
                      <a:pt x="45" y="165"/>
                      <a:pt x="48" y="162"/>
                      <a:pt x="53" y="160"/>
                    </a:cubicBezTo>
                    <a:cubicBezTo>
                      <a:pt x="54" y="159"/>
                      <a:pt x="56" y="161"/>
                      <a:pt x="57" y="160"/>
                    </a:cubicBezTo>
                    <a:cubicBezTo>
                      <a:pt x="60" y="158"/>
                      <a:pt x="60" y="154"/>
                      <a:pt x="63" y="151"/>
                    </a:cubicBezTo>
                    <a:cubicBezTo>
                      <a:pt x="64" y="150"/>
                      <a:pt x="66" y="149"/>
                      <a:pt x="68" y="149"/>
                    </a:cubicBezTo>
                    <a:cubicBezTo>
                      <a:pt x="69" y="148"/>
                      <a:pt x="64" y="149"/>
                      <a:pt x="62" y="147"/>
                    </a:cubicBezTo>
                    <a:cubicBezTo>
                      <a:pt x="60" y="144"/>
                      <a:pt x="68" y="142"/>
                      <a:pt x="70" y="140"/>
                    </a:cubicBezTo>
                    <a:cubicBezTo>
                      <a:pt x="72" y="137"/>
                      <a:pt x="73" y="135"/>
                      <a:pt x="75" y="134"/>
                    </a:cubicBezTo>
                    <a:cubicBezTo>
                      <a:pt x="77" y="133"/>
                      <a:pt x="78" y="138"/>
                      <a:pt x="79" y="137"/>
                    </a:cubicBezTo>
                    <a:cubicBezTo>
                      <a:pt x="84" y="137"/>
                      <a:pt x="89" y="136"/>
                      <a:pt x="92" y="133"/>
                    </a:cubicBezTo>
                    <a:cubicBezTo>
                      <a:pt x="94" y="133"/>
                      <a:pt x="88" y="134"/>
                      <a:pt x="88" y="132"/>
                    </a:cubicBezTo>
                    <a:cubicBezTo>
                      <a:pt x="88" y="131"/>
                      <a:pt x="92" y="131"/>
                      <a:pt x="92" y="129"/>
                    </a:cubicBezTo>
                    <a:cubicBezTo>
                      <a:pt x="91" y="128"/>
                      <a:pt x="80" y="130"/>
                      <a:pt x="68" y="127"/>
                    </a:cubicBezTo>
                    <a:cubicBezTo>
                      <a:pt x="56" y="123"/>
                      <a:pt x="68" y="124"/>
                      <a:pt x="65" y="114"/>
                    </a:cubicBezTo>
                    <a:cubicBezTo>
                      <a:pt x="62" y="104"/>
                      <a:pt x="46" y="111"/>
                      <a:pt x="42" y="105"/>
                    </a:cubicBezTo>
                    <a:cubicBezTo>
                      <a:pt x="29" y="88"/>
                      <a:pt x="52" y="95"/>
                      <a:pt x="53" y="95"/>
                    </a:cubicBezTo>
                    <a:cubicBezTo>
                      <a:pt x="53" y="94"/>
                      <a:pt x="51" y="93"/>
                      <a:pt x="51" y="92"/>
                    </a:cubicBezTo>
                    <a:cubicBezTo>
                      <a:pt x="53" y="88"/>
                      <a:pt x="56" y="84"/>
                      <a:pt x="61" y="83"/>
                    </a:cubicBezTo>
                    <a:cubicBezTo>
                      <a:pt x="65" y="82"/>
                      <a:pt x="69" y="85"/>
                      <a:pt x="74" y="85"/>
                    </a:cubicBezTo>
                    <a:cubicBezTo>
                      <a:pt x="75" y="85"/>
                      <a:pt x="76" y="85"/>
                      <a:pt x="77" y="84"/>
                    </a:cubicBezTo>
                    <a:cubicBezTo>
                      <a:pt x="84" y="66"/>
                      <a:pt x="63" y="79"/>
                      <a:pt x="62" y="74"/>
                    </a:cubicBezTo>
                    <a:cubicBezTo>
                      <a:pt x="61" y="72"/>
                      <a:pt x="67" y="74"/>
                      <a:pt x="69" y="72"/>
                    </a:cubicBezTo>
                    <a:cubicBezTo>
                      <a:pt x="72" y="70"/>
                      <a:pt x="66" y="64"/>
                      <a:pt x="66" y="64"/>
                    </a:cubicBezTo>
                    <a:cubicBezTo>
                      <a:pt x="66" y="60"/>
                      <a:pt x="71" y="55"/>
                      <a:pt x="68" y="51"/>
                    </a:cubicBezTo>
                    <a:cubicBezTo>
                      <a:pt x="66" y="49"/>
                      <a:pt x="61" y="58"/>
                      <a:pt x="59" y="55"/>
                    </a:cubicBezTo>
                    <a:cubicBezTo>
                      <a:pt x="57" y="53"/>
                      <a:pt x="62" y="50"/>
                      <a:pt x="64" y="47"/>
                    </a:cubicBezTo>
                    <a:cubicBezTo>
                      <a:pt x="64" y="45"/>
                      <a:pt x="59" y="46"/>
                      <a:pt x="64" y="45"/>
                    </a:cubicBezTo>
                    <a:cubicBezTo>
                      <a:pt x="69" y="43"/>
                      <a:pt x="95" y="43"/>
                      <a:pt x="98" y="51"/>
                    </a:cubicBezTo>
                    <a:cubicBezTo>
                      <a:pt x="100" y="55"/>
                      <a:pt x="98" y="61"/>
                      <a:pt x="101" y="62"/>
                    </a:cubicBezTo>
                    <a:cubicBezTo>
                      <a:pt x="104" y="63"/>
                      <a:pt x="104" y="56"/>
                      <a:pt x="107" y="55"/>
                    </a:cubicBezTo>
                    <a:cubicBezTo>
                      <a:pt x="112" y="52"/>
                      <a:pt x="127" y="69"/>
                      <a:pt x="128" y="67"/>
                    </a:cubicBezTo>
                    <a:cubicBezTo>
                      <a:pt x="129" y="63"/>
                      <a:pt x="124" y="59"/>
                      <a:pt x="124" y="54"/>
                    </a:cubicBezTo>
                    <a:cubicBezTo>
                      <a:pt x="125" y="49"/>
                      <a:pt x="142" y="51"/>
                      <a:pt x="142" y="50"/>
                    </a:cubicBezTo>
                    <a:cubicBezTo>
                      <a:pt x="147" y="49"/>
                      <a:pt x="150" y="45"/>
                      <a:pt x="153" y="42"/>
                    </a:cubicBezTo>
                    <a:cubicBezTo>
                      <a:pt x="155" y="40"/>
                      <a:pt x="145" y="42"/>
                      <a:pt x="145" y="41"/>
                    </a:cubicBezTo>
                    <a:cubicBezTo>
                      <a:pt x="143" y="34"/>
                      <a:pt x="145" y="43"/>
                      <a:pt x="137" y="42"/>
                    </a:cubicBezTo>
                    <a:cubicBezTo>
                      <a:pt x="136" y="42"/>
                      <a:pt x="138" y="40"/>
                      <a:pt x="138" y="39"/>
                    </a:cubicBezTo>
                    <a:cubicBezTo>
                      <a:pt x="138" y="38"/>
                      <a:pt x="138" y="37"/>
                      <a:pt x="137" y="37"/>
                    </a:cubicBezTo>
                    <a:cubicBezTo>
                      <a:pt x="135" y="36"/>
                      <a:pt x="124" y="36"/>
                      <a:pt x="125" y="29"/>
                    </a:cubicBezTo>
                    <a:cubicBezTo>
                      <a:pt x="129" y="17"/>
                      <a:pt x="140" y="30"/>
                      <a:pt x="143" y="29"/>
                    </a:cubicBezTo>
                    <a:cubicBezTo>
                      <a:pt x="146" y="28"/>
                      <a:pt x="137" y="24"/>
                      <a:pt x="138" y="22"/>
                    </a:cubicBezTo>
                    <a:cubicBezTo>
                      <a:pt x="141" y="20"/>
                      <a:pt x="145" y="24"/>
                      <a:pt x="148" y="24"/>
                    </a:cubicBezTo>
                    <a:cubicBezTo>
                      <a:pt x="151" y="23"/>
                      <a:pt x="146" y="19"/>
                      <a:pt x="144" y="17"/>
                    </a:cubicBezTo>
                    <a:cubicBezTo>
                      <a:pt x="143" y="16"/>
                      <a:pt x="148" y="16"/>
                      <a:pt x="148" y="15"/>
                    </a:cubicBezTo>
                    <a:cubicBezTo>
                      <a:pt x="151" y="5"/>
                      <a:pt x="126" y="15"/>
                      <a:pt x="156" y="1"/>
                    </a:cubicBezTo>
                    <a:cubicBezTo>
                      <a:pt x="158" y="0"/>
                      <a:pt x="160" y="2"/>
                      <a:pt x="162" y="3"/>
                    </a:cubicBezTo>
                    <a:cubicBezTo>
                      <a:pt x="170" y="5"/>
                      <a:pt x="179" y="4"/>
                      <a:pt x="186" y="9"/>
                    </a:cubicBezTo>
                    <a:cubicBezTo>
                      <a:pt x="190" y="12"/>
                      <a:pt x="176" y="17"/>
                      <a:pt x="178" y="21"/>
                    </a:cubicBezTo>
                    <a:cubicBezTo>
                      <a:pt x="180" y="24"/>
                      <a:pt x="185" y="20"/>
                      <a:pt x="188" y="17"/>
                    </a:cubicBezTo>
                    <a:cubicBezTo>
                      <a:pt x="189" y="16"/>
                      <a:pt x="186" y="11"/>
                      <a:pt x="188" y="11"/>
                    </a:cubicBezTo>
                    <a:cubicBezTo>
                      <a:pt x="191" y="12"/>
                      <a:pt x="194" y="16"/>
                      <a:pt x="196" y="19"/>
                    </a:cubicBezTo>
                    <a:cubicBezTo>
                      <a:pt x="184" y="19"/>
                      <a:pt x="187" y="33"/>
                      <a:pt x="178" y="39"/>
                    </a:cubicBezTo>
                    <a:cubicBezTo>
                      <a:pt x="176" y="40"/>
                      <a:pt x="162" y="36"/>
                      <a:pt x="163" y="39"/>
                    </a:cubicBezTo>
                    <a:cubicBezTo>
                      <a:pt x="163" y="42"/>
                      <a:pt x="171" y="44"/>
                      <a:pt x="169" y="47"/>
                    </a:cubicBezTo>
                    <a:cubicBezTo>
                      <a:pt x="169" y="47"/>
                      <a:pt x="147" y="53"/>
                      <a:pt x="147" y="53"/>
                    </a:cubicBezTo>
                    <a:cubicBezTo>
                      <a:pt x="145" y="56"/>
                      <a:pt x="167" y="85"/>
                      <a:pt x="175" y="85"/>
                    </a:cubicBezTo>
                    <a:cubicBezTo>
                      <a:pt x="201" y="83"/>
                      <a:pt x="170" y="71"/>
                      <a:pt x="194" y="68"/>
                    </a:cubicBezTo>
                    <a:cubicBezTo>
                      <a:pt x="201" y="67"/>
                      <a:pt x="198" y="80"/>
                      <a:pt x="201" y="86"/>
                    </a:cubicBezTo>
                    <a:cubicBezTo>
                      <a:pt x="202" y="88"/>
                      <a:pt x="207" y="87"/>
                      <a:pt x="207" y="91"/>
                    </a:cubicBezTo>
                    <a:cubicBezTo>
                      <a:pt x="206" y="94"/>
                      <a:pt x="202" y="99"/>
                      <a:pt x="205" y="100"/>
                    </a:cubicBezTo>
                    <a:cubicBezTo>
                      <a:pt x="224" y="106"/>
                      <a:pt x="212" y="93"/>
                      <a:pt x="220" y="98"/>
                    </a:cubicBezTo>
                    <a:cubicBezTo>
                      <a:pt x="223" y="101"/>
                      <a:pt x="223" y="101"/>
                      <a:pt x="223" y="101"/>
                    </a:cubicBezTo>
                    <a:cubicBezTo>
                      <a:pt x="222" y="101"/>
                      <a:pt x="221" y="100"/>
                      <a:pt x="221" y="10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3" name="Great Britain"/>
              <p:cNvSpPr>
                <a:spLocks noEditPoints="1"/>
              </p:cNvSpPr>
              <p:nvPr/>
            </p:nvSpPr>
            <p:spPr bwMode="auto">
              <a:xfrm>
                <a:off x="3783568" y="3230454"/>
                <a:ext cx="697538" cy="1328468"/>
              </a:xfrm>
              <a:custGeom>
                <a:avLst/>
                <a:gdLst>
                  <a:gd name="T0" fmla="*/ 149 w 417"/>
                  <a:gd name="T1" fmla="*/ 491 h 738"/>
                  <a:gd name="T2" fmla="*/ 229 w 417"/>
                  <a:gd name="T3" fmla="*/ 120 h 738"/>
                  <a:gd name="T4" fmla="*/ 242 w 417"/>
                  <a:gd name="T5" fmla="*/ 175 h 738"/>
                  <a:gd name="T6" fmla="*/ 227 w 417"/>
                  <a:gd name="T7" fmla="*/ 194 h 738"/>
                  <a:gd name="T8" fmla="*/ 315 w 417"/>
                  <a:gd name="T9" fmla="*/ 217 h 738"/>
                  <a:gd name="T10" fmla="*/ 243 w 417"/>
                  <a:gd name="T11" fmla="*/ 287 h 738"/>
                  <a:gd name="T12" fmla="*/ 227 w 417"/>
                  <a:gd name="T13" fmla="*/ 315 h 738"/>
                  <a:gd name="T14" fmla="*/ 297 w 417"/>
                  <a:gd name="T15" fmla="*/ 356 h 738"/>
                  <a:gd name="T16" fmla="*/ 330 w 417"/>
                  <a:gd name="T17" fmla="*/ 447 h 738"/>
                  <a:gd name="T18" fmla="*/ 353 w 417"/>
                  <a:gd name="T19" fmla="*/ 553 h 738"/>
                  <a:gd name="T20" fmla="*/ 411 w 417"/>
                  <a:gd name="T21" fmla="*/ 606 h 738"/>
                  <a:gd name="T22" fmla="*/ 357 w 417"/>
                  <a:gd name="T23" fmla="*/ 655 h 738"/>
                  <a:gd name="T24" fmla="*/ 346 w 417"/>
                  <a:gd name="T25" fmla="*/ 678 h 738"/>
                  <a:gd name="T26" fmla="*/ 383 w 417"/>
                  <a:gd name="T27" fmla="*/ 690 h 738"/>
                  <a:gd name="T28" fmla="*/ 324 w 417"/>
                  <a:gd name="T29" fmla="*/ 726 h 738"/>
                  <a:gd name="T30" fmla="*/ 269 w 417"/>
                  <a:gd name="T31" fmla="*/ 710 h 738"/>
                  <a:gd name="T32" fmla="*/ 218 w 417"/>
                  <a:gd name="T33" fmla="*/ 711 h 738"/>
                  <a:gd name="T34" fmla="*/ 198 w 417"/>
                  <a:gd name="T35" fmla="*/ 718 h 738"/>
                  <a:gd name="T36" fmla="*/ 88 w 417"/>
                  <a:gd name="T37" fmla="*/ 715 h 738"/>
                  <a:gd name="T38" fmla="*/ 40 w 417"/>
                  <a:gd name="T39" fmla="*/ 719 h 738"/>
                  <a:gd name="T40" fmla="*/ 90 w 417"/>
                  <a:gd name="T41" fmla="*/ 695 h 738"/>
                  <a:gd name="T42" fmla="*/ 181 w 417"/>
                  <a:gd name="T43" fmla="*/ 666 h 738"/>
                  <a:gd name="T44" fmla="*/ 158 w 417"/>
                  <a:gd name="T45" fmla="*/ 648 h 738"/>
                  <a:gd name="T46" fmla="*/ 110 w 417"/>
                  <a:gd name="T47" fmla="*/ 619 h 738"/>
                  <a:gd name="T48" fmla="*/ 109 w 417"/>
                  <a:gd name="T49" fmla="*/ 591 h 738"/>
                  <a:gd name="T50" fmla="*/ 146 w 417"/>
                  <a:gd name="T51" fmla="*/ 521 h 738"/>
                  <a:gd name="T52" fmla="*/ 182 w 417"/>
                  <a:gd name="T53" fmla="*/ 510 h 738"/>
                  <a:gd name="T54" fmla="*/ 208 w 417"/>
                  <a:gd name="T55" fmla="*/ 494 h 738"/>
                  <a:gd name="T56" fmla="*/ 229 w 417"/>
                  <a:gd name="T57" fmla="*/ 449 h 738"/>
                  <a:gd name="T58" fmla="*/ 217 w 417"/>
                  <a:gd name="T59" fmla="*/ 394 h 738"/>
                  <a:gd name="T60" fmla="*/ 196 w 417"/>
                  <a:gd name="T61" fmla="*/ 393 h 738"/>
                  <a:gd name="T62" fmla="*/ 172 w 417"/>
                  <a:gd name="T63" fmla="*/ 383 h 738"/>
                  <a:gd name="T64" fmla="*/ 165 w 417"/>
                  <a:gd name="T65" fmla="*/ 344 h 738"/>
                  <a:gd name="T66" fmla="*/ 170 w 417"/>
                  <a:gd name="T67" fmla="*/ 301 h 738"/>
                  <a:gd name="T68" fmla="*/ 139 w 417"/>
                  <a:gd name="T69" fmla="*/ 320 h 738"/>
                  <a:gd name="T70" fmla="*/ 131 w 417"/>
                  <a:gd name="T71" fmla="*/ 317 h 738"/>
                  <a:gd name="T72" fmla="*/ 147 w 417"/>
                  <a:gd name="T73" fmla="*/ 270 h 738"/>
                  <a:gd name="T74" fmla="*/ 173 w 417"/>
                  <a:gd name="T75" fmla="*/ 238 h 738"/>
                  <a:gd name="T76" fmla="*/ 114 w 417"/>
                  <a:gd name="T77" fmla="*/ 265 h 738"/>
                  <a:gd name="T78" fmla="*/ 134 w 417"/>
                  <a:gd name="T79" fmla="*/ 244 h 738"/>
                  <a:gd name="T80" fmla="*/ 160 w 417"/>
                  <a:gd name="T81" fmla="*/ 222 h 738"/>
                  <a:gd name="T82" fmla="*/ 169 w 417"/>
                  <a:gd name="T83" fmla="*/ 165 h 738"/>
                  <a:gd name="T84" fmla="*/ 190 w 417"/>
                  <a:gd name="T85" fmla="*/ 135 h 738"/>
                  <a:gd name="T86" fmla="*/ 201 w 417"/>
                  <a:gd name="T87" fmla="*/ 117 h 738"/>
                  <a:gd name="T88" fmla="*/ 376 w 417"/>
                  <a:gd name="T89" fmla="*/ 7 h 738"/>
                  <a:gd name="T90" fmla="*/ 362 w 417"/>
                  <a:gd name="T91" fmla="*/ 39 h 738"/>
                  <a:gd name="T92" fmla="*/ 375 w 417"/>
                  <a:gd name="T93" fmla="*/ 0 h 738"/>
                  <a:gd name="T94" fmla="*/ 299 w 417"/>
                  <a:gd name="T95" fmla="*/ 102 h 738"/>
                  <a:gd name="T96" fmla="*/ 96 w 417"/>
                  <a:gd name="T97" fmla="*/ 348 h 738"/>
                  <a:gd name="T98" fmla="*/ 118 w 417"/>
                  <a:gd name="T99" fmla="*/ 408 h 738"/>
                  <a:gd name="T100" fmla="*/ 62 w 417"/>
                  <a:gd name="T101" fmla="*/ 420 h 738"/>
                  <a:gd name="T102" fmla="*/ 18 w 417"/>
                  <a:gd name="T103" fmla="*/ 368 h 738"/>
                  <a:gd name="T104" fmla="*/ 133 w 417"/>
                  <a:gd name="T105" fmla="*/ 136 h 738"/>
                  <a:gd name="T106" fmla="*/ 115 w 417"/>
                  <a:gd name="T107" fmla="*/ 135 h 738"/>
                  <a:gd name="T108" fmla="*/ 144 w 417"/>
                  <a:gd name="T109" fmla="*/ 115 h 738"/>
                  <a:gd name="T110" fmla="*/ 153 w 417"/>
                  <a:gd name="T111" fmla="*/ 430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17" h="738">
                    <a:moveTo>
                      <a:pt x="149" y="491"/>
                    </a:moveTo>
                    <a:cubicBezTo>
                      <a:pt x="159" y="499"/>
                      <a:pt x="168" y="504"/>
                      <a:pt x="157" y="509"/>
                    </a:cubicBezTo>
                    <a:moveTo>
                      <a:pt x="151" y="512"/>
                    </a:moveTo>
                    <a:cubicBezTo>
                      <a:pt x="149" y="513"/>
                      <a:pt x="147" y="513"/>
                      <a:pt x="146" y="513"/>
                    </a:cubicBezTo>
                    <a:cubicBezTo>
                      <a:pt x="144" y="513"/>
                      <a:pt x="147" y="511"/>
                      <a:pt x="147" y="510"/>
                    </a:cubicBezTo>
                    <a:cubicBezTo>
                      <a:pt x="143" y="498"/>
                      <a:pt x="135" y="496"/>
                      <a:pt x="149" y="491"/>
                    </a:cubicBezTo>
                    <a:moveTo>
                      <a:pt x="207" y="107"/>
                    </a:moveTo>
                    <a:cubicBezTo>
                      <a:pt x="211" y="109"/>
                      <a:pt x="218" y="112"/>
                      <a:pt x="219" y="116"/>
                    </a:cubicBezTo>
                    <a:cubicBezTo>
                      <a:pt x="219" y="119"/>
                      <a:pt x="211" y="124"/>
                      <a:pt x="213" y="123"/>
                    </a:cubicBezTo>
                    <a:cubicBezTo>
                      <a:pt x="216" y="120"/>
                      <a:pt x="217" y="113"/>
                      <a:pt x="221" y="114"/>
                    </a:cubicBezTo>
                    <a:cubicBezTo>
                      <a:pt x="225" y="115"/>
                      <a:pt x="221" y="123"/>
                      <a:pt x="224" y="125"/>
                    </a:cubicBezTo>
                    <a:cubicBezTo>
                      <a:pt x="226" y="126"/>
                      <a:pt x="227" y="120"/>
                      <a:pt x="229" y="120"/>
                    </a:cubicBezTo>
                    <a:cubicBezTo>
                      <a:pt x="238" y="117"/>
                      <a:pt x="257" y="121"/>
                      <a:pt x="268" y="123"/>
                    </a:cubicBezTo>
                    <a:cubicBezTo>
                      <a:pt x="273" y="123"/>
                      <a:pt x="279" y="119"/>
                      <a:pt x="282" y="123"/>
                    </a:cubicBezTo>
                    <a:cubicBezTo>
                      <a:pt x="285" y="125"/>
                      <a:pt x="277" y="128"/>
                      <a:pt x="276" y="132"/>
                    </a:cubicBezTo>
                    <a:cubicBezTo>
                      <a:pt x="275" y="135"/>
                      <a:pt x="276" y="138"/>
                      <a:pt x="275" y="142"/>
                    </a:cubicBezTo>
                    <a:cubicBezTo>
                      <a:pt x="273" y="145"/>
                      <a:pt x="238" y="166"/>
                      <a:pt x="231" y="171"/>
                    </a:cubicBezTo>
                    <a:cubicBezTo>
                      <a:pt x="220" y="180"/>
                      <a:pt x="236" y="170"/>
                      <a:pt x="242" y="175"/>
                    </a:cubicBezTo>
                    <a:cubicBezTo>
                      <a:pt x="244" y="176"/>
                      <a:pt x="239" y="178"/>
                      <a:pt x="237" y="180"/>
                    </a:cubicBezTo>
                    <a:cubicBezTo>
                      <a:pt x="235" y="181"/>
                      <a:pt x="234" y="184"/>
                      <a:pt x="231" y="185"/>
                    </a:cubicBezTo>
                    <a:cubicBezTo>
                      <a:pt x="230" y="185"/>
                      <a:pt x="231" y="181"/>
                      <a:pt x="230" y="181"/>
                    </a:cubicBezTo>
                    <a:cubicBezTo>
                      <a:pt x="228" y="180"/>
                      <a:pt x="226" y="182"/>
                      <a:pt x="224" y="183"/>
                    </a:cubicBezTo>
                    <a:cubicBezTo>
                      <a:pt x="220" y="185"/>
                      <a:pt x="220" y="180"/>
                      <a:pt x="218" y="184"/>
                    </a:cubicBezTo>
                    <a:cubicBezTo>
                      <a:pt x="213" y="194"/>
                      <a:pt x="224" y="198"/>
                      <a:pt x="227" y="194"/>
                    </a:cubicBezTo>
                    <a:cubicBezTo>
                      <a:pt x="228" y="193"/>
                      <a:pt x="225" y="192"/>
                      <a:pt x="226" y="192"/>
                    </a:cubicBezTo>
                    <a:cubicBezTo>
                      <a:pt x="229" y="191"/>
                      <a:pt x="232" y="193"/>
                      <a:pt x="235" y="193"/>
                    </a:cubicBezTo>
                    <a:cubicBezTo>
                      <a:pt x="241" y="193"/>
                      <a:pt x="249" y="186"/>
                      <a:pt x="257" y="188"/>
                    </a:cubicBezTo>
                    <a:cubicBezTo>
                      <a:pt x="261" y="188"/>
                      <a:pt x="264" y="192"/>
                      <a:pt x="268" y="193"/>
                    </a:cubicBezTo>
                    <a:cubicBezTo>
                      <a:pt x="278" y="196"/>
                      <a:pt x="310" y="195"/>
                      <a:pt x="315" y="207"/>
                    </a:cubicBezTo>
                    <a:cubicBezTo>
                      <a:pt x="316" y="210"/>
                      <a:pt x="316" y="214"/>
                      <a:pt x="315" y="217"/>
                    </a:cubicBezTo>
                    <a:cubicBezTo>
                      <a:pt x="302" y="230"/>
                      <a:pt x="302" y="230"/>
                      <a:pt x="302" y="230"/>
                    </a:cubicBezTo>
                    <a:cubicBezTo>
                      <a:pt x="301" y="232"/>
                      <a:pt x="299" y="235"/>
                      <a:pt x="299" y="238"/>
                    </a:cubicBezTo>
                    <a:cubicBezTo>
                      <a:pt x="298" y="239"/>
                      <a:pt x="299" y="240"/>
                      <a:pt x="299" y="241"/>
                    </a:cubicBezTo>
                    <a:cubicBezTo>
                      <a:pt x="294" y="249"/>
                      <a:pt x="271" y="283"/>
                      <a:pt x="263" y="283"/>
                    </a:cubicBezTo>
                    <a:cubicBezTo>
                      <a:pt x="252" y="284"/>
                      <a:pt x="248" y="279"/>
                      <a:pt x="238" y="286"/>
                    </a:cubicBezTo>
                    <a:cubicBezTo>
                      <a:pt x="237" y="287"/>
                      <a:pt x="242" y="288"/>
                      <a:pt x="243" y="287"/>
                    </a:cubicBezTo>
                    <a:cubicBezTo>
                      <a:pt x="248" y="287"/>
                      <a:pt x="252" y="284"/>
                      <a:pt x="256" y="283"/>
                    </a:cubicBezTo>
                    <a:cubicBezTo>
                      <a:pt x="264" y="283"/>
                      <a:pt x="258" y="288"/>
                      <a:pt x="258" y="290"/>
                    </a:cubicBezTo>
                    <a:cubicBezTo>
                      <a:pt x="260" y="294"/>
                      <a:pt x="267" y="295"/>
                      <a:pt x="267" y="299"/>
                    </a:cubicBezTo>
                    <a:cubicBezTo>
                      <a:pt x="265" y="311"/>
                      <a:pt x="253" y="301"/>
                      <a:pt x="250" y="301"/>
                    </a:cubicBezTo>
                    <a:cubicBezTo>
                      <a:pt x="232" y="304"/>
                      <a:pt x="264" y="311"/>
                      <a:pt x="227" y="309"/>
                    </a:cubicBezTo>
                    <a:cubicBezTo>
                      <a:pt x="226" y="309"/>
                      <a:pt x="226" y="315"/>
                      <a:pt x="227" y="315"/>
                    </a:cubicBezTo>
                    <a:cubicBezTo>
                      <a:pt x="231" y="317"/>
                      <a:pt x="226" y="313"/>
                      <a:pt x="230" y="314"/>
                    </a:cubicBezTo>
                    <a:cubicBezTo>
                      <a:pt x="235" y="315"/>
                      <a:pt x="245" y="322"/>
                      <a:pt x="250" y="319"/>
                    </a:cubicBezTo>
                    <a:cubicBezTo>
                      <a:pt x="252" y="317"/>
                      <a:pt x="253" y="313"/>
                      <a:pt x="255" y="312"/>
                    </a:cubicBezTo>
                    <a:cubicBezTo>
                      <a:pt x="256" y="311"/>
                      <a:pt x="277" y="327"/>
                      <a:pt x="280" y="330"/>
                    </a:cubicBezTo>
                    <a:cubicBezTo>
                      <a:pt x="284" y="332"/>
                      <a:pt x="285" y="347"/>
                      <a:pt x="289" y="351"/>
                    </a:cubicBezTo>
                    <a:cubicBezTo>
                      <a:pt x="292" y="353"/>
                      <a:pt x="295" y="354"/>
                      <a:pt x="297" y="356"/>
                    </a:cubicBezTo>
                    <a:cubicBezTo>
                      <a:pt x="297" y="357"/>
                      <a:pt x="296" y="358"/>
                      <a:pt x="296" y="360"/>
                    </a:cubicBezTo>
                    <a:cubicBezTo>
                      <a:pt x="296" y="364"/>
                      <a:pt x="296" y="368"/>
                      <a:pt x="296" y="371"/>
                    </a:cubicBezTo>
                    <a:cubicBezTo>
                      <a:pt x="296" y="381"/>
                      <a:pt x="300" y="423"/>
                      <a:pt x="303" y="431"/>
                    </a:cubicBezTo>
                    <a:cubicBezTo>
                      <a:pt x="304" y="433"/>
                      <a:pt x="305" y="429"/>
                      <a:pt x="306" y="430"/>
                    </a:cubicBezTo>
                    <a:cubicBezTo>
                      <a:pt x="309" y="430"/>
                      <a:pt x="310" y="433"/>
                      <a:pt x="312" y="434"/>
                    </a:cubicBezTo>
                    <a:cubicBezTo>
                      <a:pt x="323" y="440"/>
                      <a:pt x="320" y="435"/>
                      <a:pt x="330" y="447"/>
                    </a:cubicBezTo>
                    <a:cubicBezTo>
                      <a:pt x="333" y="451"/>
                      <a:pt x="332" y="458"/>
                      <a:pt x="335" y="463"/>
                    </a:cubicBezTo>
                    <a:cubicBezTo>
                      <a:pt x="337" y="469"/>
                      <a:pt x="345" y="463"/>
                      <a:pt x="345" y="474"/>
                    </a:cubicBezTo>
                    <a:cubicBezTo>
                      <a:pt x="345" y="478"/>
                      <a:pt x="339" y="478"/>
                      <a:pt x="339" y="481"/>
                    </a:cubicBezTo>
                    <a:cubicBezTo>
                      <a:pt x="336" y="490"/>
                      <a:pt x="347" y="503"/>
                      <a:pt x="349" y="511"/>
                    </a:cubicBezTo>
                    <a:cubicBezTo>
                      <a:pt x="352" y="522"/>
                      <a:pt x="343" y="506"/>
                      <a:pt x="342" y="518"/>
                    </a:cubicBezTo>
                    <a:cubicBezTo>
                      <a:pt x="342" y="521"/>
                      <a:pt x="363" y="542"/>
                      <a:pt x="353" y="553"/>
                    </a:cubicBezTo>
                    <a:cubicBezTo>
                      <a:pt x="345" y="561"/>
                      <a:pt x="341" y="552"/>
                      <a:pt x="336" y="566"/>
                    </a:cubicBezTo>
                    <a:cubicBezTo>
                      <a:pt x="335" y="568"/>
                      <a:pt x="340" y="566"/>
                      <a:pt x="341" y="567"/>
                    </a:cubicBezTo>
                    <a:cubicBezTo>
                      <a:pt x="343" y="568"/>
                      <a:pt x="344" y="572"/>
                      <a:pt x="345" y="573"/>
                    </a:cubicBezTo>
                    <a:cubicBezTo>
                      <a:pt x="347" y="575"/>
                      <a:pt x="350" y="578"/>
                      <a:pt x="352" y="577"/>
                    </a:cubicBezTo>
                    <a:cubicBezTo>
                      <a:pt x="363" y="569"/>
                      <a:pt x="354" y="562"/>
                      <a:pt x="366" y="564"/>
                    </a:cubicBezTo>
                    <a:cubicBezTo>
                      <a:pt x="385" y="567"/>
                      <a:pt x="417" y="575"/>
                      <a:pt x="411" y="606"/>
                    </a:cubicBezTo>
                    <a:cubicBezTo>
                      <a:pt x="409" y="615"/>
                      <a:pt x="396" y="641"/>
                      <a:pt x="387" y="644"/>
                    </a:cubicBezTo>
                    <a:cubicBezTo>
                      <a:pt x="383" y="645"/>
                      <a:pt x="378" y="639"/>
                      <a:pt x="377" y="641"/>
                    </a:cubicBezTo>
                    <a:cubicBezTo>
                      <a:pt x="372" y="652"/>
                      <a:pt x="398" y="649"/>
                      <a:pt x="376" y="655"/>
                    </a:cubicBezTo>
                    <a:cubicBezTo>
                      <a:pt x="374" y="655"/>
                      <a:pt x="373" y="654"/>
                      <a:pt x="371" y="653"/>
                    </a:cubicBezTo>
                    <a:cubicBezTo>
                      <a:pt x="371" y="653"/>
                      <a:pt x="371" y="652"/>
                      <a:pt x="370" y="652"/>
                    </a:cubicBezTo>
                    <a:cubicBezTo>
                      <a:pt x="366" y="653"/>
                      <a:pt x="359" y="652"/>
                      <a:pt x="357" y="655"/>
                    </a:cubicBezTo>
                    <a:cubicBezTo>
                      <a:pt x="355" y="658"/>
                      <a:pt x="365" y="654"/>
                      <a:pt x="367" y="657"/>
                    </a:cubicBezTo>
                    <a:cubicBezTo>
                      <a:pt x="370" y="659"/>
                      <a:pt x="368" y="663"/>
                      <a:pt x="366" y="666"/>
                    </a:cubicBezTo>
                    <a:cubicBezTo>
                      <a:pt x="362" y="674"/>
                      <a:pt x="349" y="669"/>
                      <a:pt x="343" y="671"/>
                    </a:cubicBezTo>
                    <a:cubicBezTo>
                      <a:pt x="341" y="671"/>
                      <a:pt x="337" y="673"/>
                      <a:pt x="339" y="674"/>
                    </a:cubicBezTo>
                    <a:cubicBezTo>
                      <a:pt x="339" y="674"/>
                      <a:pt x="355" y="669"/>
                      <a:pt x="355" y="676"/>
                    </a:cubicBezTo>
                    <a:cubicBezTo>
                      <a:pt x="354" y="679"/>
                      <a:pt x="348" y="676"/>
                      <a:pt x="346" y="678"/>
                    </a:cubicBezTo>
                    <a:cubicBezTo>
                      <a:pt x="344" y="679"/>
                      <a:pt x="350" y="682"/>
                      <a:pt x="353" y="681"/>
                    </a:cubicBezTo>
                    <a:cubicBezTo>
                      <a:pt x="354" y="680"/>
                      <a:pt x="354" y="676"/>
                      <a:pt x="355" y="676"/>
                    </a:cubicBezTo>
                    <a:cubicBezTo>
                      <a:pt x="358" y="676"/>
                      <a:pt x="360" y="678"/>
                      <a:pt x="362" y="680"/>
                    </a:cubicBezTo>
                    <a:cubicBezTo>
                      <a:pt x="370" y="687"/>
                      <a:pt x="346" y="683"/>
                      <a:pt x="362" y="686"/>
                    </a:cubicBezTo>
                    <a:cubicBezTo>
                      <a:pt x="370" y="687"/>
                      <a:pt x="379" y="681"/>
                      <a:pt x="387" y="684"/>
                    </a:cubicBezTo>
                    <a:cubicBezTo>
                      <a:pt x="389" y="685"/>
                      <a:pt x="384" y="688"/>
                      <a:pt x="383" y="690"/>
                    </a:cubicBezTo>
                    <a:cubicBezTo>
                      <a:pt x="382" y="694"/>
                      <a:pt x="383" y="698"/>
                      <a:pt x="382" y="702"/>
                    </a:cubicBezTo>
                    <a:cubicBezTo>
                      <a:pt x="380" y="708"/>
                      <a:pt x="370" y="706"/>
                      <a:pt x="365" y="709"/>
                    </a:cubicBezTo>
                    <a:cubicBezTo>
                      <a:pt x="362" y="710"/>
                      <a:pt x="364" y="716"/>
                      <a:pt x="361" y="717"/>
                    </a:cubicBezTo>
                    <a:cubicBezTo>
                      <a:pt x="351" y="721"/>
                      <a:pt x="356" y="712"/>
                      <a:pt x="350" y="715"/>
                    </a:cubicBezTo>
                    <a:cubicBezTo>
                      <a:pt x="344" y="719"/>
                      <a:pt x="338" y="718"/>
                      <a:pt x="332" y="721"/>
                    </a:cubicBezTo>
                    <a:cubicBezTo>
                      <a:pt x="329" y="722"/>
                      <a:pt x="328" y="726"/>
                      <a:pt x="324" y="726"/>
                    </a:cubicBezTo>
                    <a:cubicBezTo>
                      <a:pt x="319" y="726"/>
                      <a:pt x="310" y="717"/>
                      <a:pt x="305" y="715"/>
                    </a:cubicBezTo>
                    <a:cubicBezTo>
                      <a:pt x="301" y="715"/>
                      <a:pt x="273" y="722"/>
                      <a:pt x="271" y="715"/>
                    </a:cubicBezTo>
                    <a:cubicBezTo>
                      <a:pt x="271" y="713"/>
                      <a:pt x="279" y="715"/>
                      <a:pt x="273" y="711"/>
                    </a:cubicBezTo>
                    <a:cubicBezTo>
                      <a:pt x="269" y="709"/>
                      <a:pt x="271" y="714"/>
                      <a:pt x="270" y="715"/>
                    </a:cubicBezTo>
                    <a:cubicBezTo>
                      <a:pt x="269" y="716"/>
                      <a:pt x="267" y="715"/>
                      <a:pt x="267" y="714"/>
                    </a:cubicBezTo>
                    <a:cubicBezTo>
                      <a:pt x="267" y="712"/>
                      <a:pt x="271" y="710"/>
                      <a:pt x="269" y="710"/>
                    </a:cubicBezTo>
                    <a:cubicBezTo>
                      <a:pt x="267" y="710"/>
                      <a:pt x="266" y="714"/>
                      <a:pt x="264" y="713"/>
                    </a:cubicBezTo>
                    <a:cubicBezTo>
                      <a:pt x="262" y="713"/>
                      <a:pt x="266" y="710"/>
                      <a:pt x="264" y="708"/>
                    </a:cubicBezTo>
                    <a:cubicBezTo>
                      <a:pt x="260" y="703"/>
                      <a:pt x="263" y="713"/>
                      <a:pt x="261" y="713"/>
                    </a:cubicBezTo>
                    <a:cubicBezTo>
                      <a:pt x="254" y="710"/>
                      <a:pt x="249" y="699"/>
                      <a:pt x="247" y="701"/>
                    </a:cubicBezTo>
                    <a:cubicBezTo>
                      <a:pt x="245" y="704"/>
                      <a:pt x="252" y="708"/>
                      <a:pt x="251" y="711"/>
                    </a:cubicBezTo>
                    <a:cubicBezTo>
                      <a:pt x="251" y="717"/>
                      <a:pt x="219" y="709"/>
                      <a:pt x="218" y="711"/>
                    </a:cubicBezTo>
                    <a:cubicBezTo>
                      <a:pt x="216" y="714"/>
                      <a:pt x="222" y="718"/>
                      <a:pt x="221" y="721"/>
                    </a:cubicBezTo>
                    <a:cubicBezTo>
                      <a:pt x="221" y="723"/>
                      <a:pt x="218" y="721"/>
                      <a:pt x="216" y="721"/>
                    </a:cubicBezTo>
                    <a:cubicBezTo>
                      <a:pt x="216" y="721"/>
                      <a:pt x="216" y="721"/>
                      <a:pt x="216" y="721"/>
                    </a:cubicBezTo>
                    <a:cubicBezTo>
                      <a:pt x="213" y="719"/>
                      <a:pt x="204" y="713"/>
                      <a:pt x="201" y="714"/>
                    </a:cubicBezTo>
                    <a:cubicBezTo>
                      <a:pt x="198" y="715"/>
                      <a:pt x="199" y="721"/>
                      <a:pt x="197" y="723"/>
                    </a:cubicBezTo>
                    <a:cubicBezTo>
                      <a:pt x="196" y="725"/>
                      <a:pt x="198" y="720"/>
                      <a:pt x="198" y="718"/>
                    </a:cubicBezTo>
                    <a:cubicBezTo>
                      <a:pt x="196" y="715"/>
                      <a:pt x="194" y="713"/>
                      <a:pt x="191" y="711"/>
                    </a:cubicBezTo>
                    <a:cubicBezTo>
                      <a:pt x="183" y="704"/>
                      <a:pt x="162" y="698"/>
                      <a:pt x="152" y="702"/>
                    </a:cubicBezTo>
                    <a:cubicBezTo>
                      <a:pt x="152" y="702"/>
                      <a:pt x="146" y="730"/>
                      <a:pt x="137" y="734"/>
                    </a:cubicBezTo>
                    <a:cubicBezTo>
                      <a:pt x="130" y="736"/>
                      <a:pt x="118" y="720"/>
                      <a:pt x="114" y="718"/>
                    </a:cubicBezTo>
                    <a:cubicBezTo>
                      <a:pt x="111" y="716"/>
                      <a:pt x="120" y="723"/>
                      <a:pt x="112" y="721"/>
                    </a:cubicBezTo>
                    <a:cubicBezTo>
                      <a:pt x="105" y="719"/>
                      <a:pt x="96" y="713"/>
                      <a:pt x="88" y="715"/>
                    </a:cubicBezTo>
                    <a:cubicBezTo>
                      <a:pt x="85" y="715"/>
                      <a:pt x="86" y="721"/>
                      <a:pt x="84" y="722"/>
                    </a:cubicBezTo>
                    <a:cubicBezTo>
                      <a:pt x="80" y="723"/>
                      <a:pt x="77" y="721"/>
                      <a:pt x="73" y="721"/>
                    </a:cubicBezTo>
                    <a:cubicBezTo>
                      <a:pt x="72" y="721"/>
                      <a:pt x="71" y="721"/>
                      <a:pt x="71" y="721"/>
                    </a:cubicBezTo>
                    <a:cubicBezTo>
                      <a:pt x="70" y="724"/>
                      <a:pt x="63" y="738"/>
                      <a:pt x="61" y="738"/>
                    </a:cubicBezTo>
                    <a:cubicBezTo>
                      <a:pt x="57" y="738"/>
                      <a:pt x="59" y="730"/>
                      <a:pt x="57" y="727"/>
                    </a:cubicBezTo>
                    <a:cubicBezTo>
                      <a:pt x="53" y="722"/>
                      <a:pt x="40" y="726"/>
                      <a:pt x="40" y="719"/>
                    </a:cubicBezTo>
                    <a:cubicBezTo>
                      <a:pt x="40" y="715"/>
                      <a:pt x="62" y="714"/>
                      <a:pt x="63" y="714"/>
                    </a:cubicBezTo>
                    <a:cubicBezTo>
                      <a:pt x="65" y="714"/>
                      <a:pt x="67" y="712"/>
                      <a:pt x="69" y="709"/>
                    </a:cubicBezTo>
                    <a:cubicBezTo>
                      <a:pt x="70" y="709"/>
                      <a:pt x="69" y="706"/>
                      <a:pt x="70" y="706"/>
                    </a:cubicBezTo>
                    <a:cubicBezTo>
                      <a:pt x="71" y="705"/>
                      <a:pt x="74" y="706"/>
                      <a:pt x="75" y="706"/>
                    </a:cubicBezTo>
                    <a:cubicBezTo>
                      <a:pt x="79" y="702"/>
                      <a:pt x="80" y="697"/>
                      <a:pt x="84" y="695"/>
                    </a:cubicBezTo>
                    <a:cubicBezTo>
                      <a:pt x="86" y="693"/>
                      <a:pt x="88" y="696"/>
                      <a:pt x="90" y="695"/>
                    </a:cubicBezTo>
                    <a:cubicBezTo>
                      <a:pt x="92" y="694"/>
                      <a:pt x="91" y="692"/>
                      <a:pt x="93" y="691"/>
                    </a:cubicBezTo>
                    <a:cubicBezTo>
                      <a:pt x="96" y="688"/>
                      <a:pt x="101" y="687"/>
                      <a:pt x="104" y="684"/>
                    </a:cubicBezTo>
                    <a:cubicBezTo>
                      <a:pt x="105" y="682"/>
                      <a:pt x="105" y="669"/>
                      <a:pt x="109" y="667"/>
                    </a:cubicBezTo>
                    <a:cubicBezTo>
                      <a:pt x="111" y="666"/>
                      <a:pt x="113" y="671"/>
                      <a:pt x="116" y="671"/>
                    </a:cubicBezTo>
                    <a:cubicBezTo>
                      <a:pt x="129" y="672"/>
                      <a:pt x="113" y="653"/>
                      <a:pt x="145" y="658"/>
                    </a:cubicBezTo>
                    <a:cubicBezTo>
                      <a:pt x="156" y="660"/>
                      <a:pt x="170" y="675"/>
                      <a:pt x="181" y="666"/>
                    </a:cubicBezTo>
                    <a:cubicBezTo>
                      <a:pt x="184" y="663"/>
                      <a:pt x="183" y="658"/>
                      <a:pt x="185" y="654"/>
                    </a:cubicBezTo>
                    <a:cubicBezTo>
                      <a:pt x="185" y="653"/>
                      <a:pt x="212" y="636"/>
                      <a:pt x="216" y="632"/>
                    </a:cubicBezTo>
                    <a:cubicBezTo>
                      <a:pt x="219" y="628"/>
                      <a:pt x="201" y="640"/>
                      <a:pt x="199" y="642"/>
                    </a:cubicBezTo>
                    <a:cubicBezTo>
                      <a:pt x="196" y="643"/>
                      <a:pt x="193" y="644"/>
                      <a:pt x="190" y="644"/>
                    </a:cubicBezTo>
                    <a:cubicBezTo>
                      <a:pt x="189" y="644"/>
                      <a:pt x="187" y="641"/>
                      <a:pt x="186" y="642"/>
                    </a:cubicBezTo>
                    <a:cubicBezTo>
                      <a:pt x="172" y="646"/>
                      <a:pt x="175" y="658"/>
                      <a:pt x="158" y="648"/>
                    </a:cubicBezTo>
                    <a:cubicBezTo>
                      <a:pt x="152" y="644"/>
                      <a:pt x="153" y="635"/>
                      <a:pt x="148" y="629"/>
                    </a:cubicBezTo>
                    <a:cubicBezTo>
                      <a:pt x="144" y="625"/>
                      <a:pt x="135" y="635"/>
                      <a:pt x="130" y="632"/>
                    </a:cubicBezTo>
                    <a:cubicBezTo>
                      <a:pt x="129" y="632"/>
                      <a:pt x="127" y="614"/>
                      <a:pt x="127" y="612"/>
                    </a:cubicBezTo>
                    <a:cubicBezTo>
                      <a:pt x="126" y="611"/>
                      <a:pt x="126" y="615"/>
                      <a:pt x="125" y="615"/>
                    </a:cubicBezTo>
                    <a:cubicBezTo>
                      <a:pt x="121" y="615"/>
                      <a:pt x="126" y="611"/>
                      <a:pt x="112" y="615"/>
                    </a:cubicBezTo>
                    <a:cubicBezTo>
                      <a:pt x="110" y="615"/>
                      <a:pt x="111" y="618"/>
                      <a:pt x="110" y="619"/>
                    </a:cubicBezTo>
                    <a:cubicBezTo>
                      <a:pt x="107" y="620"/>
                      <a:pt x="102" y="622"/>
                      <a:pt x="99" y="620"/>
                    </a:cubicBezTo>
                    <a:cubicBezTo>
                      <a:pt x="96" y="620"/>
                      <a:pt x="91" y="616"/>
                      <a:pt x="92" y="614"/>
                    </a:cubicBezTo>
                    <a:cubicBezTo>
                      <a:pt x="94" y="611"/>
                      <a:pt x="99" y="613"/>
                      <a:pt x="103" y="612"/>
                    </a:cubicBezTo>
                    <a:cubicBezTo>
                      <a:pt x="104" y="612"/>
                      <a:pt x="88" y="611"/>
                      <a:pt x="87" y="609"/>
                    </a:cubicBezTo>
                    <a:cubicBezTo>
                      <a:pt x="84" y="606"/>
                      <a:pt x="86" y="601"/>
                      <a:pt x="86" y="597"/>
                    </a:cubicBezTo>
                    <a:cubicBezTo>
                      <a:pt x="86" y="586"/>
                      <a:pt x="107" y="592"/>
                      <a:pt x="109" y="591"/>
                    </a:cubicBezTo>
                    <a:cubicBezTo>
                      <a:pt x="113" y="590"/>
                      <a:pt x="113" y="584"/>
                      <a:pt x="117" y="584"/>
                    </a:cubicBezTo>
                    <a:cubicBezTo>
                      <a:pt x="120" y="584"/>
                      <a:pt x="123" y="586"/>
                      <a:pt x="126" y="586"/>
                    </a:cubicBezTo>
                    <a:cubicBezTo>
                      <a:pt x="135" y="584"/>
                      <a:pt x="153" y="568"/>
                      <a:pt x="156" y="560"/>
                    </a:cubicBezTo>
                    <a:cubicBezTo>
                      <a:pt x="157" y="558"/>
                      <a:pt x="155" y="536"/>
                      <a:pt x="152" y="533"/>
                    </a:cubicBezTo>
                    <a:cubicBezTo>
                      <a:pt x="142" y="521"/>
                      <a:pt x="131" y="555"/>
                      <a:pt x="127" y="532"/>
                    </a:cubicBezTo>
                    <a:cubicBezTo>
                      <a:pt x="126" y="528"/>
                      <a:pt x="138" y="527"/>
                      <a:pt x="146" y="521"/>
                    </a:cubicBezTo>
                    <a:cubicBezTo>
                      <a:pt x="147" y="520"/>
                      <a:pt x="146" y="517"/>
                      <a:pt x="147" y="515"/>
                    </a:cubicBezTo>
                    <a:cubicBezTo>
                      <a:pt x="148" y="513"/>
                      <a:pt x="150" y="512"/>
                      <a:pt x="151" y="512"/>
                    </a:cubicBezTo>
                    <a:cubicBezTo>
                      <a:pt x="153" y="510"/>
                      <a:pt x="155" y="510"/>
                      <a:pt x="157" y="509"/>
                    </a:cubicBezTo>
                    <a:cubicBezTo>
                      <a:pt x="161" y="509"/>
                      <a:pt x="164" y="511"/>
                      <a:pt x="172" y="508"/>
                    </a:cubicBezTo>
                    <a:cubicBezTo>
                      <a:pt x="173" y="507"/>
                      <a:pt x="170" y="503"/>
                      <a:pt x="172" y="504"/>
                    </a:cubicBezTo>
                    <a:cubicBezTo>
                      <a:pt x="176" y="504"/>
                      <a:pt x="178" y="509"/>
                      <a:pt x="182" y="510"/>
                    </a:cubicBezTo>
                    <a:cubicBezTo>
                      <a:pt x="190" y="511"/>
                      <a:pt x="191" y="503"/>
                      <a:pt x="197" y="508"/>
                    </a:cubicBezTo>
                    <a:cubicBezTo>
                      <a:pt x="200" y="511"/>
                      <a:pt x="201" y="520"/>
                      <a:pt x="204" y="517"/>
                    </a:cubicBezTo>
                    <a:cubicBezTo>
                      <a:pt x="208" y="515"/>
                      <a:pt x="202" y="509"/>
                      <a:pt x="203" y="505"/>
                    </a:cubicBezTo>
                    <a:cubicBezTo>
                      <a:pt x="203" y="503"/>
                      <a:pt x="213" y="504"/>
                      <a:pt x="221" y="513"/>
                    </a:cubicBezTo>
                    <a:cubicBezTo>
                      <a:pt x="223" y="515"/>
                      <a:pt x="216" y="513"/>
                      <a:pt x="214" y="512"/>
                    </a:cubicBezTo>
                    <a:cubicBezTo>
                      <a:pt x="209" y="509"/>
                      <a:pt x="207" y="500"/>
                      <a:pt x="208" y="494"/>
                    </a:cubicBezTo>
                    <a:cubicBezTo>
                      <a:pt x="208" y="491"/>
                      <a:pt x="212" y="488"/>
                      <a:pt x="215" y="486"/>
                    </a:cubicBezTo>
                    <a:cubicBezTo>
                      <a:pt x="217" y="484"/>
                      <a:pt x="223" y="486"/>
                      <a:pt x="222" y="483"/>
                    </a:cubicBezTo>
                    <a:cubicBezTo>
                      <a:pt x="221" y="480"/>
                      <a:pt x="214" y="480"/>
                      <a:pt x="213" y="476"/>
                    </a:cubicBezTo>
                    <a:cubicBezTo>
                      <a:pt x="206" y="460"/>
                      <a:pt x="225" y="473"/>
                      <a:pt x="225" y="466"/>
                    </a:cubicBezTo>
                    <a:cubicBezTo>
                      <a:pt x="225" y="463"/>
                      <a:pt x="221" y="464"/>
                      <a:pt x="223" y="460"/>
                    </a:cubicBezTo>
                    <a:cubicBezTo>
                      <a:pt x="224" y="456"/>
                      <a:pt x="229" y="454"/>
                      <a:pt x="229" y="449"/>
                    </a:cubicBezTo>
                    <a:cubicBezTo>
                      <a:pt x="228" y="440"/>
                      <a:pt x="221" y="456"/>
                      <a:pt x="213" y="456"/>
                    </a:cubicBezTo>
                    <a:cubicBezTo>
                      <a:pt x="208" y="456"/>
                      <a:pt x="215" y="446"/>
                      <a:pt x="213" y="441"/>
                    </a:cubicBezTo>
                    <a:cubicBezTo>
                      <a:pt x="212" y="439"/>
                      <a:pt x="210" y="446"/>
                      <a:pt x="207" y="445"/>
                    </a:cubicBezTo>
                    <a:cubicBezTo>
                      <a:pt x="200" y="443"/>
                      <a:pt x="206" y="437"/>
                      <a:pt x="206" y="433"/>
                    </a:cubicBezTo>
                    <a:cubicBezTo>
                      <a:pt x="199" y="419"/>
                      <a:pt x="199" y="419"/>
                      <a:pt x="199" y="419"/>
                    </a:cubicBezTo>
                    <a:cubicBezTo>
                      <a:pt x="198" y="412"/>
                      <a:pt x="217" y="394"/>
                      <a:pt x="217" y="394"/>
                    </a:cubicBezTo>
                    <a:cubicBezTo>
                      <a:pt x="219" y="394"/>
                      <a:pt x="218" y="397"/>
                      <a:pt x="219" y="396"/>
                    </a:cubicBezTo>
                    <a:cubicBezTo>
                      <a:pt x="224" y="395"/>
                      <a:pt x="230" y="394"/>
                      <a:pt x="231" y="390"/>
                    </a:cubicBezTo>
                    <a:cubicBezTo>
                      <a:pt x="232" y="387"/>
                      <a:pt x="224" y="390"/>
                      <a:pt x="221" y="390"/>
                    </a:cubicBezTo>
                    <a:cubicBezTo>
                      <a:pt x="219" y="389"/>
                      <a:pt x="216" y="386"/>
                      <a:pt x="213" y="387"/>
                    </a:cubicBezTo>
                    <a:cubicBezTo>
                      <a:pt x="210" y="388"/>
                      <a:pt x="208" y="392"/>
                      <a:pt x="205" y="394"/>
                    </a:cubicBezTo>
                    <a:cubicBezTo>
                      <a:pt x="202" y="395"/>
                      <a:pt x="199" y="392"/>
                      <a:pt x="196" y="393"/>
                    </a:cubicBezTo>
                    <a:cubicBezTo>
                      <a:pt x="193" y="394"/>
                      <a:pt x="191" y="397"/>
                      <a:pt x="188" y="398"/>
                    </a:cubicBezTo>
                    <a:cubicBezTo>
                      <a:pt x="187" y="399"/>
                      <a:pt x="185" y="399"/>
                      <a:pt x="185" y="397"/>
                    </a:cubicBezTo>
                    <a:cubicBezTo>
                      <a:pt x="184" y="396"/>
                      <a:pt x="187" y="393"/>
                      <a:pt x="186" y="392"/>
                    </a:cubicBezTo>
                    <a:cubicBezTo>
                      <a:pt x="184" y="392"/>
                      <a:pt x="185" y="396"/>
                      <a:pt x="183" y="397"/>
                    </a:cubicBezTo>
                    <a:cubicBezTo>
                      <a:pt x="183" y="397"/>
                      <a:pt x="182" y="397"/>
                      <a:pt x="181" y="396"/>
                    </a:cubicBezTo>
                    <a:cubicBezTo>
                      <a:pt x="178" y="393"/>
                      <a:pt x="178" y="384"/>
                      <a:pt x="172" y="383"/>
                    </a:cubicBezTo>
                    <a:cubicBezTo>
                      <a:pt x="164" y="382"/>
                      <a:pt x="175" y="391"/>
                      <a:pt x="169" y="400"/>
                    </a:cubicBezTo>
                    <a:cubicBezTo>
                      <a:pt x="167" y="404"/>
                      <a:pt x="164" y="395"/>
                      <a:pt x="162" y="391"/>
                    </a:cubicBezTo>
                    <a:cubicBezTo>
                      <a:pt x="146" y="370"/>
                      <a:pt x="163" y="395"/>
                      <a:pt x="140" y="382"/>
                    </a:cubicBezTo>
                    <a:cubicBezTo>
                      <a:pt x="135" y="378"/>
                      <a:pt x="148" y="381"/>
                      <a:pt x="148" y="378"/>
                    </a:cubicBezTo>
                    <a:cubicBezTo>
                      <a:pt x="147" y="365"/>
                      <a:pt x="150" y="366"/>
                      <a:pt x="157" y="357"/>
                    </a:cubicBezTo>
                    <a:cubicBezTo>
                      <a:pt x="172" y="341"/>
                      <a:pt x="147" y="360"/>
                      <a:pt x="165" y="344"/>
                    </a:cubicBezTo>
                    <a:cubicBezTo>
                      <a:pt x="167" y="342"/>
                      <a:pt x="171" y="342"/>
                      <a:pt x="172" y="340"/>
                    </a:cubicBezTo>
                    <a:cubicBezTo>
                      <a:pt x="174" y="336"/>
                      <a:pt x="164" y="323"/>
                      <a:pt x="163" y="322"/>
                    </a:cubicBezTo>
                    <a:cubicBezTo>
                      <a:pt x="163" y="320"/>
                      <a:pt x="166" y="320"/>
                      <a:pt x="167" y="318"/>
                    </a:cubicBezTo>
                    <a:cubicBezTo>
                      <a:pt x="168" y="314"/>
                      <a:pt x="167" y="309"/>
                      <a:pt x="168" y="305"/>
                    </a:cubicBezTo>
                    <a:cubicBezTo>
                      <a:pt x="170" y="300"/>
                      <a:pt x="175" y="305"/>
                      <a:pt x="180" y="308"/>
                    </a:cubicBezTo>
                    <a:cubicBezTo>
                      <a:pt x="199" y="316"/>
                      <a:pt x="170" y="302"/>
                      <a:pt x="170" y="301"/>
                    </a:cubicBezTo>
                    <a:cubicBezTo>
                      <a:pt x="169" y="298"/>
                      <a:pt x="170" y="293"/>
                      <a:pt x="171" y="289"/>
                    </a:cubicBezTo>
                    <a:cubicBezTo>
                      <a:pt x="171" y="286"/>
                      <a:pt x="173" y="283"/>
                      <a:pt x="172" y="280"/>
                    </a:cubicBezTo>
                    <a:cubicBezTo>
                      <a:pt x="171" y="280"/>
                      <a:pt x="148" y="292"/>
                      <a:pt x="147" y="294"/>
                    </a:cubicBezTo>
                    <a:cubicBezTo>
                      <a:pt x="142" y="298"/>
                      <a:pt x="150" y="306"/>
                      <a:pt x="148" y="312"/>
                    </a:cubicBezTo>
                    <a:cubicBezTo>
                      <a:pt x="148" y="314"/>
                      <a:pt x="143" y="314"/>
                      <a:pt x="142" y="315"/>
                    </a:cubicBezTo>
                    <a:cubicBezTo>
                      <a:pt x="140" y="317"/>
                      <a:pt x="139" y="318"/>
                      <a:pt x="139" y="320"/>
                    </a:cubicBezTo>
                    <a:cubicBezTo>
                      <a:pt x="139" y="322"/>
                      <a:pt x="140" y="324"/>
                      <a:pt x="139" y="325"/>
                    </a:cubicBezTo>
                    <a:cubicBezTo>
                      <a:pt x="138" y="330"/>
                      <a:pt x="133" y="332"/>
                      <a:pt x="131" y="336"/>
                    </a:cubicBezTo>
                    <a:cubicBezTo>
                      <a:pt x="131" y="338"/>
                      <a:pt x="134" y="340"/>
                      <a:pt x="133" y="340"/>
                    </a:cubicBezTo>
                    <a:cubicBezTo>
                      <a:pt x="129" y="343"/>
                      <a:pt x="124" y="344"/>
                      <a:pt x="120" y="343"/>
                    </a:cubicBezTo>
                    <a:cubicBezTo>
                      <a:pt x="116" y="341"/>
                      <a:pt x="124" y="336"/>
                      <a:pt x="126" y="334"/>
                    </a:cubicBezTo>
                    <a:cubicBezTo>
                      <a:pt x="129" y="329"/>
                      <a:pt x="128" y="322"/>
                      <a:pt x="131" y="317"/>
                    </a:cubicBezTo>
                    <a:cubicBezTo>
                      <a:pt x="143" y="307"/>
                      <a:pt x="143" y="307"/>
                      <a:pt x="143" y="307"/>
                    </a:cubicBezTo>
                    <a:cubicBezTo>
                      <a:pt x="142" y="304"/>
                      <a:pt x="136" y="308"/>
                      <a:pt x="135" y="305"/>
                    </a:cubicBezTo>
                    <a:cubicBezTo>
                      <a:pt x="134" y="303"/>
                      <a:pt x="150" y="293"/>
                      <a:pt x="142" y="292"/>
                    </a:cubicBezTo>
                    <a:cubicBezTo>
                      <a:pt x="139" y="291"/>
                      <a:pt x="137" y="299"/>
                      <a:pt x="134" y="297"/>
                    </a:cubicBezTo>
                    <a:cubicBezTo>
                      <a:pt x="131" y="295"/>
                      <a:pt x="142" y="292"/>
                      <a:pt x="144" y="288"/>
                    </a:cubicBezTo>
                    <a:cubicBezTo>
                      <a:pt x="147" y="284"/>
                      <a:pt x="145" y="274"/>
                      <a:pt x="147" y="270"/>
                    </a:cubicBezTo>
                    <a:cubicBezTo>
                      <a:pt x="148" y="266"/>
                      <a:pt x="151" y="263"/>
                      <a:pt x="153" y="262"/>
                    </a:cubicBezTo>
                    <a:cubicBezTo>
                      <a:pt x="156" y="262"/>
                      <a:pt x="161" y="268"/>
                      <a:pt x="161" y="265"/>
                    </a:cubicBezTo>
                    <a:cubicBezTo>
                      <a:pt x="161" y="262"/>
                      <a:pt x="155" y="262"/>
                      <a:pt x="153" y="259"/>
                    </a:cubicBezTo>
                    <a:cubicBezTo>
                      <a:pt x="150" y="252"/>
                      <a:pt x="173" y="248"/>
                      <a:pt x="173" y="248"/>
                    </a:cubicBezTo>
                    <a:cubicBezTo>
                      <a:pt x="175" y="246"/>
                      <a:pt x="166" y="248"/>
                      <a:pt x="166" y="246"/>
                    </a:cubicBezTo>
                    <a:cubicBezTo>
                      <a:pt x="166" y="242"/>
                      <a:pt x="172" y="242"/>
                      <a:pt x="173" y="238"/>
                    </a:cubicBezTo>
                    <a:cubicBezTo>
                      <a:pt x="174" y="237"/>
                      <a:pt x="169" y="240"/>
                      <a:pt x="168" y="241"/>
                    </a:cubicBezTo>
                    <a:cubicBezTo>
                      <a:pt x="164" y="244"/>
                      <a:pt x="164" y="245"/>
                      <a:pt x="161" y="247"/>
                    </a:cubicBezTo>
                    <a:cubicBezTo>
                      <a:pt x="153" y="251"/>
                      <a:pt x="147" y="257"/>
                      <a:pt x="142" y="255"/>
                    </a:cubicBezTo>
                    <a:cubicBezTo>
                      <a:pt x="142" y="256"/>
                      <a:pt x="143" y="257"/>
                      <a:pt x="144" y="257"/>
                    </a:cubicBezTo>
                    <a:cubicBezTo>
                      <a:pt x="144" y="258"/>
                      <a:pt x="147" y="259"/>
                      <a:pt x="146" y="261"/>
                    </a:cubicBezTo>
                    <a:cubicBezTo>
                      <a:pt x="141" y="265"/>
                      <a:pt x="118" y="272"/>
                      <a:pt x="114" y="265"/>
                    </a:cubicBezTo>
                    <a:cubicBezTo>
                      <a:pt x="114" y="264"/>
                      <a:pt x="114" y="262"/>
                      <a:pt x="115" y="262"/>
                    </a:cubicBezTo>
                    <a:cubicBezTo>
                      <a:pt x="126" y="258"/>
                      <a:pt x="117" y="275"/>
                      <a:pt x="131" y="255"/>
                    </a:cubicBezTo>
                    <a:cubicBezTo>
                      <a:pt x="140" y="244"/>
                      <a:pt x="105" y="250"/>
                      <a:pt x="130" y="241"/>
                    </a:cubicBezTo>
                    <a:cubicBezTo>
                      <a:pt x="131" y="244"/>
                      <a:pt x="133" y="246"/>
                      <a:pt x="134" y="248"/>
                    </a:cubicBezTo>
                    <a:cubicBezTo>
                      <a:pt x="135" y="249"/>
                      <a:pt x="136" y="250"/>
                      <a:pt x="137" y="250"/>
                    </a:cubicBezTo>
                    <a:cubicBezTo>
                      <a:pt x="136" y="249"/>
                      <a:pt x="135" y="246"/>
                      <a:pt x="134" y="244"/>
                    </a:cubicBezTo>
                    <a:cubicBezTo>
                      <a:pt x="134" y="242"/>
                      <a:pt x="138" y="244"/>
                      <a:pt x="140" y="244"/>
                    </a:cubicBezTo>
                    <a:cubicBezTo>
                      <a:pt x="144" y="244"/>
                      <a:pt x="149" y="246"/>
                      <a:pt x="153" y="244"/>
                    </a:cubicBezTo>
                    <a:cubicBezTo>
                      <a:pt x="158" y="242"/>
                      <a:pt x="122" y="242"/>
                      <a:pt x="127" y="236"/>
                    </a:cubicBezTo>
                    <a:cubicBezTo>
                      <a:pt x="130" y="231"/>
                      <a:pt x="145" y="237"/>
                      <a:pt x="146" y="235"/>
                    </a:cubicBezTo>
                    <a:cubicBezTo>
                      <a:pt x="148" y="229"/>
                      <a:pt x="132" y="223"/>
                      <a:pt x="148" y="219"/>
                    </a:cubicBezTo>
                    <a:cubicBezTo>
                      <a:pt x="152" y="218"/>
                      <a:pt x="156" y="223"/>
                      <a:pt x="160" y="222"/>
                    </a:cubicBezTo>
                    <a:cubicBezTo>
                      <a:pt x="176" y="218"/>
                      <a:pt x="156" y="208"/>
                      <a:pt x="156" y="208"/>
                    </a:cubicBezTo>
                    <a:cubicBezTo>
                      <a:pt x="158" y="204"/>
                      <a:pt x="167" y="209"/>
                      <a:pt x="169" y="206"/>
                    </a:cubicBezTo>
                    <a:cubicBezTo>
                      <a:pt x="172" y="202"/>
                      <a:pt x="170" y="197"/>
                      <a:pt x="170" y="192"/>
                    </a:cubicBezTo>
                    <a:cubicBezTo>
                      <a:pt x="170" y="189"/>
                      <a:pt x="170" y="185"/>
                      <a:pt x="169" y="183"/>
                    </a:cubicBezTo>
                    <a:cubicBezTo>
                      <a:pt x="169" y="182"/>
                      <a:pt x="150" y="162"/>
                      <a:pt x="163" y="157"/>
                    </a:cubicBezTo>
                    <a:cubicBezTo>
                      <a:pt x="165" y="155"/>
                      <a:pt x="166" y="166"/>
                      <a:pt x="169" y="165"/>
                    </a:cubicBezTo>
                    <a:cubicBezTo>
                      <a:pt x="174" y="164"/>
                      <a:pt x="168" y="151"/>
                      <a:pt x="174" y="155"/>
                    </a:cubicBezTo>
                    <a:cubicBezTo>
                      <a:pt x="183" y="160"/>
                      <a:pt x="184" y="160"/>
                      <a:pt x="184" y="160"/>
                    </a:cubicBezTo>
                    <a:cubicBezTo>
                      <a:pt x="186" y="152"/>
                      <a:pt x="180" y="152"/>
                      <a:pt x="180" y="145"/>
                    </a:cubicBezTo>
                    <a:cubicBezTo>
                      <a:pt x="180" y="142"/>
                      <a:pt x="187" y="148"/>
                      <a:pt x="189" y="145"/>
                    </a:cubicBezTo>
                    <a:cubicBezTo>
                      <a:pt x="191" y="141"/>
                      <a:pt x="186" y="136"/>
                      <a:pt x="186" y="132"/>
                    </a:cubicBezTo>
                    <a:cubicBezTo>
                      <a:pt x="186" y="130"/>
                      <a:pt x="188" y="135"/>
                      <a:pt x="190" y="135"/>
                    </a:cubicBezTo>
                    <a:cubicBezTo>
                      <a:pt x="194" y="137"/>
                      <a:pt x="200" y="140"/>
                      <a:pt x="203" y="137"/>
                    </a:cubicBezTo>
                    <a:cubicBezTo>
                      <a:pt x="205" y="134"/>
                      <a:pt x="197" y="131"/>
                      <a:pt x="196" y="128"/>
                    </a:cubicBezTo>
                    <a:cubicBezTo>
                      <a:pt x="193" y="118"/>
                      <a:pt x="202" y="125"/>
                      <a:pt x="202" y="125"/>
                    </a:cubicBezTo>
                    <a:cubicBezTo>
                      <a:pt x="203" y="124"/>
                      <a:pt x="200" y="122"/>
                      <a:pt x="200" y="121"/>
                    </a:cubicBezTo>
                    <a:cubicBezTo>
                      <a:pt x="202" y="120"/>
                      <a:pt x="204" y="123"/>
                      <a:pt x="204" y="122"/>
                    </a:cubicBezTo>
                    <a:cubicBezTo>
                      <a:pt x="204" y="120"/>
                      <a:pt x="200" y="119"/>
                      <a:pt x="201" y="117"/>
                    </a:cubicBezTo>
                    <a:cubicBezTo>
                      <a:pt x="202" y="113"/>
                      <a:pt x="205" y="111"/>
                      <a:pt x="207" y="107"/>
                    </a:cubicBezTo>
                    <a:close/>
                    <a:moveTo>
                      <a:pt x="375" y="0"/>
                    </a:moveTo>
                    <a:cubicBezTo>
                      <a:pt x="375" y="2"/>
                      <a:pt x="376" y="3"/>
                      <a:pt x="375" y="4"/>
                    </a:cubicBezTo>
                    <a:cubicBezTo>
                      <a:pt x="375" y="5"/>
                      <a:pt x="372" y="4"/>
                      <a:pt x="372" y="5"/>
                    </a:cubicBezTo>
                    <a:cubicBezTo>
                      <a:pt x="371" y="8"/>
                      <a:pt x="377" y="2"/>
                      <a:pt x="380" y="3"/>
                    </a:cubicBezTo>
                    <a:cubicBezTo>
                      <a:pt x="382" y="3"/>
                      <a:pt x="377" y="5"/>
                      <a:pt x="376" y="7"/>
                    </a:cubicBezTo>
                    <a:cubicBezTo>
                      <a:pt x="376" y="8"/>
                      <a:pt x="378" y="9"/>
                      <a:pt x="378" y="10"/>
                    </a:cubicBezTo>
                    <a:cubicBezTo>
                      <a:pt x="376" y="10"/>
                      <a:pt x="374" y="8"/>
                      <a:pt x="374" y="9"/>
                    </a:cubicBezTo>
                    <a:cubicBezTo>
                      <a:pt x="374" y="10"/>
                      <a:pt x="377" y="10"/>
                      <a:pt x="377" y="12"/>
                    </a:cubicBezTo>
                    <a:cubicBezTo>
                      <a:pt x="378" y="17"/>
                      <a:pt x="370" y="16"/>
                      <a:pt x="371" y="17"/>
                    </a:cubicBezTo>
                    <a:cubicBezTo>
                      <a:pt x="371" y="25"/>
                      <a:pt x="372" y="30"/>
                      <a:pt x="361" y="42"/>
                    </a:cubicBezTo>
                    <a:cubicBezTo>
                      <a:pt x="360" y="43"/>
                      <a:pt x="361" y="40"/>
                      <a:pt x="362" y="39"/>
                    </a:cubicBezTo>
                    <a:cubicBezTo>
                      <a:pt x="365" y="31"/>
                      <a:pt x="371" y="19"/>
                      <a:pt x="368" y="17"/>
                    </a:cubicBezTo>
                    <a:cubicBezTo>
                      <a:pt x="366" y="15"/>
                      <a:pt x="364" y="23"/>
                      <a:pt x="361" y="22"/>
                    </a:cubicBezTo>
                    <a:cubicBezTo>
                      <a:pt x="357" y="20"/>
                      <a:pt x="355" y="15"/>
                      <a:pt x="354" y="11"/>
                    </a:cubicBezTo>
                    <a:cubicBezTo>
                      <a:pt x="354" y="10"/>
                      <a:pt x="356" y="10"/>
                      <a:pt x="357" y="10"/>
                    </a:cubicBezTo>
                    <a:cubicBezTo>
                      <a:pt x="362" y="9"/>
                      <a:pt x="366" y="10"/>
                      <a:pt x="370" y="9"/>
                    </a:cubicBezTo>
                    <a:cubicBezTo>
                      <a:pt x="373" y="7"/>
                      <a:pt x="373" y="3"/>
                      <a:pt x="375" y="0"/>
                    </a:cubicBezTo>
                    <a:close/>
                    <a:moveTo>
                      <a:pt x="299" y="102"/>
                    </a:moveTo>
                    <a:cubicBezTo>
                      <a:pt x="292" y="117"/>
                      <a:pt x="258" y="85"/>
                      <a:pt x="282" y="83"/>
                    </a:cubicBezTo>
                    <a:cubicBezTo>
                      <a:pt x="285" y="83"/>
                      <a:pt x="289" y="87"/>
                      <a:pt x="289" y="91"/>
                    </a:cubicBezTo>
                    <a:cubicBezTo>
                      <a:pt x="289" y="94"/>
                      <a:pt x="282" y="93"/>
                      <a:pt x="283" y="95"/>
                    </a:cubicBezTo>
                    <a:cubicBezTo>
                      <a:pt x="285" y="98"/>
                      <a:pt x="290" y="98"/>
                      <a:pt x="293" y="99"/>
                    </a:cubicBezTo>
                    <a:cubicBezTo>
                      <a:pt x="295" y="100"/>
                      <a:pt x="297" y="101"/>
                      <a:pt x="299" y="102"/>
                    </a:cubicBezTo>
                    <a:close/>
                    <a:moveTo>
                      <a:pt x="51" y="348"/>
                    </a:moveTo>
                    <a:cubicBezTo>
                      <a:pt x="53" y="351"/>
                      <a:pt x="55" y="352"/>
                      <a:pt x="58" y="351"/>
                    </a:cubicBezTo>
                    <a:cubicBezTo>
                      <a:pt x="61" y="350"/>
                      <a:pt x="62" y="344"/>
                      <a:pt x="66" y="342"/>
                    </a:cubicBezTo>
                    <a:cubicBezTo>
                      <a:pt x="69" y="340"/>
                      <a:pt x="73" y="345"/>
                      <a:pt x="76" y="344"/>
                    </a:cubicBezTo>
                    <a:cubicBezTo>
                      <a:pt x="80" y="344"/>
                      <a:pt x="83" y="342"/>
                      <a:pt x="86" y="342"/>
                    </a:cubicBezTo>
                    <a:cubicBezTo>
                      <a:pt x="90" y="343"/>
                      <a:pt x="93" y="347"/>
                      <a:pt x="96" y="348"/>
                    </a:cubicBezTo>
                    <a:cubicBezTo>
                      <a:pt x="98" y="349"/>
                      <a:pt x="101" y="347"/>
                      <a:pt x="102" y="348"/>
                    </a:cubicBezTo>
                    <a:cubicBezTo>
                      <a:pt x="104" y="352"/>
                      <a:pt x="105" y="358"/>
                      <a:pt x="104" y="363"/>
                    </a:cubicBezTo>
                    <a:cubicBezTo>
                      <a:pt x="104" y="364"/>
                      <a:pt x="102" y="365"/>
                      <a:pt x="102" y="366"/>
                    </a:cubicBezTo>
                    <a:cubicBezTo>
                      <a:pt x="108" y="390"/>
                      <a:pt x="105" y="359"/>
                      <a:pt x="112" y="380"/>
                    </a:cubicBezTo>
                    <a:cubicBezTo>
                      <a:pt x="114" y="386"/>
                      <a:pt x="99" y="395"/>
                      <a:pt x="99" y="395"/>
                    </a:cubicBezTo>
                    <a:cubicBezTo>
                      <a:pt x="109" y="393"/>
                      <a:pt x="119" y="385"/>
                      <a:pt x="118" y="408"/>
                    </a:cubicBezTo>
                    <a:cubicBezTo>
                      <a:pt x="115" y="430"/>
                      <a:pt x="99" y="418"/>
                      <a:pt x="95" y="423"/>
                    </a:cubicBezTo>
                    <a:cubicBezTo>
                      <a:pt x="91" y="427"/>
                      <a:pt x="94" y="436"/>
                      <a:pt x="84" y="434"/>
                    </a:cubicBezTo>
                    <a:cubicBezTo>
                      <a:pt x="81" y="434"/>
                      <a:pt x="80" y="432"/>
                      <a:pt x="78" y="430"/>
                    </a:cubicBezTo>
                    <a:cubicBezTo>
                      <a:pt x="76" y="428"/>
                      <a:pt x="76" y="428"/>
                      <a:pt x="76" y="428"/>
                    </a:cubicBezTo>
                    <a:cubicBezTo>
                      <a:pt x="67" y="423"/>
                      <a:pt x="79" y="436"/>
                      <a:pt x="60" y="429"/>
                    </a:cubicBezTo>
                    <a:cubicBezTo>
                      <a:pt x="57" y="428"/>
                      <a:pt x="61" y="423"/>
                      <a:pt x="62" y="420"/>
                    </a:cubicBezTo>
                    <a:cubicBezTo>
                      <a:pt x="63" y="416"/>
                      <a:pt x="57" y="417"/>
                      <a:pt x="56" y="415"/>
                    </a:cubicBezTo>
                    <a:cubicBezTo>
                      <a:pt x="53" y="410"/>
                      <a:pt x="56" y="396"/>
                      <a:pt x="50" y="397"/>
                    </a:cubicBezTo>
                    <a:cubicBezTo>
                      <a:pt x="25" y="400"/>
                      <a:pt x="56" y="412"/>
                      <a:pt x="30" y="414"/>
                    </a:cubicBezTo>
                    <a:cubicBezTo>
                      <a:pt x="22" y="415"/>
                      <a:pt x="0" y="385"/>
                      <a:pt x="2" y="382"/>
                    </a:cubicBezTo>
                    <a:cubicBezTo>
                      <a:pt x="3" y="382"/>
                      <a:pt x="25" y="377"/>
                      <a:pt x="25" y="377"/>
                    </a:cubicBezTo>
                    <a:cubicBezTo>
                      <a:pt x="26" y="373"/>
                      <a:pt x="19" y="372"/>
                      <a:pt x="18" y="368"/>
                    </a:cubicBezTo>
                    <a:cubicBezTo>
                      <a:pt x="17" y="365"/>
                      <a:pt x="32" y="369"/>
                      <a:pt x="33" y="368"/>
                    </a:cubicBezTo>
                    <a:cubicBezTo>
                      <a:pt x="42" y="363"/>
                      <a:pt x="39" y="348"/>
                      <a:pt x="51" y="348"/>
                    </a:cubicBezTo>
                    <a:close/>
                    <a:moveTo>
                      <a:pt x="159" y="114"/>
                    </a:moveTo>
                    <a:cubicBezTo>
                      <a:pt x="156" y="119"/>
                      <a:pt x="148" y="123"/>
                      <a:pt x="147" y="126"/>
                    </a:cubicBezTo>
                    <a:cubicBezTo>
                      <a:pt x="147" y="129"/>
                      <a:pt x="146" y="145"/>
                      <a:pt x="139" y="145"/>
                    </a:cubicBezTo>
                    <a:cubicBezTo>
                      <a:pt x="135" y="145"/>
                      <a:pt x="135" y="138"/>
                      <a:pt x="133" y="136"/>
                    </a:cubicBezTo>
                    <a:cubicBezTo>
                      <a:pt x="129" y="133"/>
                      <a:pt x="134" y="145"/>
                      <a:pt x="130" y="147"/>
                    </a:cubicBezTo>
                    <a:cubicBezTo>
                      <a:pt x="129" y="147"/>
                      <a:pt x="126" y="145"/>
                      <a:pt x="125" y="146"/>
                    </a:cubicBezTo>
                    <a:cubicBezTo>
                      <a:pt x="121" y="148"/>
                      <a:pt x="121" y="156"/>
                      <a:pt x="116" y="156"/>
                    </a:cubicBezTo>
                    <a:cubicBezTo>
                      <a:pt x="112" y="156"/>
                      <a:pt x="109" y="149"/>
                      <a:pt x="111" y="146"/>
                    </a:cubicBezTo>
                    <a:cubicBezTo>
                      <a:pt x="113" y="142"/>
                      <a:pt x="123" y="149"/>
                      <a:pt x="125" y="144"/>
                    </a:cubicBezTo>
                    <a:cubicBezTo>
                      <a:pt x="126" y="140"/>
                      <a:pt x="117" y="139"/>
                      <a:pt x="115" y="135"/>
                    </a:cubicBezTo>
                    <a:cubicBezTo>
                      <a:pt x="114" y="133"/>
                      <a:pt x="119" y="134"/>
                      <a:pt x="120" y="133"/>
                    </a:cubicBezTo>
                    <a:cubicBezTo>
                      <a:pt x="121" y="132"/>
                      <a:pt x="118" y="133"/>
                      <a:pt x="118" y="132"/>
                    </a:cubicBezTo>
                    <a:cubicBezTo>
                      <a:pt x="117" y="130"/>
                      <a:pt x="117" y="128"/>
                      <a:pt x="117" y="125"/>
                    </a:cubicBezTo>
                    <a:cubicBezTo>
                      <a:pt x="122" y="111"/>
                      <a:pt x="126" y="124"/>
                      <a:pt x="134" y="126"/>
                    </a:cubicBezTo>
                    <a:cubicBezTo>
                      <a:pt x="135" y="126"/>
                      <a:pt x="131" y="117"/>
                      <a:pt x="133" y="116"/>
                    </a:cubicBezTo>
                    <a:cubicBezTo>
                      <a:pt x="139" y="109"/>
                      <a:pt x="139" y="115"/>
                      <a:pt x="144" y="115"/>
                    </a:cubicBezTo>
                    <a:cubicBezTo>
                      <a:pt x="145" y="114"/>
                      <a:pt x="145" y="112"/>
                      <a:pt x="146" y="112"/>
                    </a:cubicBezTo>
                    <a:cubicBezTo>
                      <a:pt x="149" y="109"/>
                      <a:pt x="152" y="105"/>
                      <a:pt x="156" y="106"/>
                    </a:cubicBezTo>
                    <a:cubicBezTo>
                      <a:pt x="159" y="106"/>
                      <a:pt x="158" y="111"/>
                      <a:pt x="159" y="114"/>
                    </a:cubicBezTo>
                    <a:close/>
                    <a:moveTo>
                      <a:pt x="167" y="420"/>
                    </a:moveTo>
                    <a:cubicBezTo>
                      <a:pt x="164" y="421"/>
                      <a:pt x="161" y="421"/>
                      <a:pt x="158" y="422"/>
                    </a:cubicBezTo>
                    <a:cubicBezTo>
                      <a:pt x="156" y="424"/>
                      <a:pt x="155" y="428"/>
                      <a:pt x="153" y="430"/>
                    </a:cubicBezTo>
                    <a:cubicBezTo>
                      <a:pt x="129" y="452"/>
                      <a:pt x="168" y="447"/>
                      <a:pt x="167" y="42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4" name="Austria"/>
              <p:cNvSpPr>
                <a:spLocks/>
              </p:cNvSpPr>
              <p:nvPr/>
            </p:nvSpPr>
            <p:spPr bwMode="auto">
              <a:xfrm>
                <a:off x="5046836" y="4812191"/>
                <a:ext cx="633856" cy="358400"/>
              </a:xfrm>
              <a:custGeom>
                <a:avLst/>
                <a:gdLst>
                  <a:gd name="T0" fmla="*/ 7 w 379"/>
                  <a:gd name="T1" fmla="*/ 131 h 199"/>
                  <a:gd name="T2" fmla="*/ 0 w 379"/>
                  <a:gd name="T3" fmla="*/ 144 h 199"/>
                  <a:gd name="T4" fmla="*/ 3 w 379"/>
                  <a:gd name="T5" fmla="*/ 157 h 199"/>
                  <a:gd name="T6" fmla="*/ 17 w 379"/>
                  <a:gd name="T7" fmla="*/ 163 h 199"/>
                  <a:gd name="T8" fmla="*/ 44 w 379"/>
                  <a:gd name="T9" fmla="*/ 160 h 199"/>
                  <a:gd name="T10" fmla="*/ 58 w 379"/>
                  <a:gd name="T11" fmla="*/ 170 h 199"/>
                  <a:gd name="T12" fmla="*/ 83 w 379"/>
                  <a:gd name="T13" fmla="*/ 162 h 199"/>
                  <a:gd name="T14" fmla="*/ 137 w 379"/>
                  <a:gd name="T15" fmla="*/ 152 h 199"/>
                  <a:gd name="T16" fmla="*/ 141 w 379"/>
                  <a:gd name="T17" fmla="*/ 168 h 199"/>
                  <a:gd name="T18" fmla="*/ 144 w 379"/>
                  <a:gd name="T19" fmla="*/ 174 h 199"/>
                  <a:gd name="T20" fmla="*/ 224 w 379"/>
                  <a:gd name="T21" fmla="*/ 191 h 199"/>
                  <a:gd name="T22" fmla="*/ 252 w 379"/>
                  <a:gd name="T23" fmla="*/ 194 h 199"/>
                  <a:gd name="T24" fmla="*/ 261 w 379"/>
                  <a:gd name="T25" fmla="*/ 195 h 199"/>
                  <a:gd name="T26" fmla="*/ 273 w 379"/>
                  <a:gd name="T27" fmla="*/ 180 h 199"/>
                  <a:gd name="T28" fmla="*/ 313 w 379"/>
                  <a:gd name="T29" fmla="*/ 170 h 199"/>
                  <a:gd name="T30" fmla="*/ 330 w 379"/>
                  <a:gd name="T31" fmla="*/ 167 h 199"/>
                  <a:gd name="T32" fmla="*/ 355 w 379"/>
                  <a:gd name="T33" fmla="*/ 135 h 199"/>
                  <a:gd name="T34" fmla="*/ 361 w 379"/>
                  <a:gd name="T35" fmla="*/ 105 h 199"/>
                  <a:gd name="T36" fmla="*/ 379 w 379"/>
                  <a:gd name="T37" fmla="*/ 90 h 199"/>
                  <a:gd name="T38" fmla="*/ 362 w 379"/>
                  <a:gd name="T39" fmla="*/ 43 h 199"/>
                  <a:gd name="T40" fmla="*/ 356 w 379"/>
                  <a:gd name="T41" fmla="*/ 17 h 199"/>
                  <a:gd name="T42" fmla="*/ 336 w 379"/>
                  <a:gd name="T43" fmla="*/ 18 h 199"/>
                  <a:gd name="T44" fmla="*/ 284 w 379"/>
                  <a:gd name="T45" fmla="*/ 3 h 199"/>
                  <a:gd name="T46" fmla="*/ 275 w 379"/>
                  <a:gd name="T47" fmla="*/ 2 h 199"/>
                  <a:gd name="T48" fmla="*/ 267 w 379"/>
                  <a:gd name="T49" fmla="*/ 21 h 199"/>
                  <a:gd name="T50" fmla="*/ 255 w 379"/>
                  <a:gd name="T51" fmla="*/ 35 h 199"/>
                  <a:gd name="T52" fmla="*/ 240 w 379"/>
                  <a:gd name="T53" fmla="*/ 36 h 199"/>
                  <a:gd name="T54" fmla="*/ 211 w 379"/>
                  <a:gd name="T55" fmla="*/ 24 h 199"/>
                  <a:gd name="T56" fmla="*/ 197 w 379"/>
                  <a:gd name="T57" fmla="*/ 38 h 199"/>
                  <a:gd name="T58" fmla="*/ 190 w 379"/>
                  <a:gd name="T59" fmla="*/ 56 h 199"/>
                  <a:gd name="T60" fmla="*/ 175 w 379"/>
                  <a:gd name="T61" fmla="*/ 94 h 199"/>
                  <a:gd name="T62" fmla="*/ 177 w 379"/>
                  <a:gd name="T63" fmla="*/ 120 h 199"/>
                  <a:gd name="T64" fmla="*/ 163 w 379"/>
                  <a:gd name="T65" fmla="*/ 108 h 199"/>
                  <a:gd name="T66" fmla="*/ 146 w 379"/>
                  <a:gd name="T67" fmla="*/ 106 h 199"/>
                  <a:gd name="T68" fmla="*/ 137 w 379"/>
                  <a:gd name="T69" fmla="*/ 103 h 199"/>
                  <a:gd name="T70" fmla="*/ 106 w 379"/>
                  <a:gd name="T71" fmla="*/ 114 h 199"/>
                  <a:gd name="T72" fmla="*/ 95 w 379"/>
                  <a:gd name="T73" fmla="*/ 121 h 199"/>
                  <a:gd name="T74" fmla="*/ 73 w 379"/>
                  <a:gd name="T75" fmla="*/ 130 h 199"/>
                  <a:gd name="T76" fmla="*/ 68 w 379"/>
                  <a:gd name="T77" fmla="*/ 123 h 199"/>
                  <a:gd name="T78" fmla="*/ 47 w 379"/>
                  <a:gd name="T79" fmla="*/ 118 h 199"/>
                  <a:gd name="T80" fmla="*/ 47 w 379"/>
                  <a:gd name="T81" fmla="*/ 128 h 199"/>
                  <a:gd name="T82" fmla="*/ 35 w 379"/>
                  <a:gd name="T83" fmla="*/ 131 h 199"/>
                  <a:gd name="T84" fmla="*/ 28 w 379"/>
                  <a:gd name="T85" fmla="*/ 131 h 199"/>
                  <a:gd name="T86" fmla="*/ 22 w 379"/>
                  <a:gd name="T87" fmla="*/ 120 h 199"/>
                  <a:gd name="T88" fmla="*/ 15 w 379"/>
                  <a:gd name="T89" fmla="*/ 116 h 199"/>
                  <a:gd name="T90" fmla="*/ 2 w 379"/>
                  <a:gd name="T91" fmla="*/ 12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79" h="199">
                    <a:moveTo>
                      <a:pt x="2" y="121"/>
                    </a:moveTo>
                    <a:cubicBezTo>
                      <a:pt x="2" y="125"/>
                      <a:pt x="9" y="126"/>
                      <a:pt x="7" y="131"/>
                    </a:cubicBezTo>
                    <a:cubicBezTo>
                      <a:pt x="7" y="133"/>
                      <a:pt x="4" y="132"/>
                      <a:pt x="4" y="133"/>
                    </a:cubicBezTo>
                    <a:cubicBezTo>
                      <a:pt x="3" y="134"/>
                      <a:pt x="1" y="139"/>
                      <a:pt x="0" y="144"/>
                    </a:cubicBezTo>
                    <a:cubicBezTo>
                      <a:pt x="3" y="150"/>
                      <a:pt x="3" y="150"/>
                      <a:pt x="3" y="150"/>
                    </a:cubicBezTo>
                    <a:cubicBezTo>
                      <a:pt x="3" y="157"/>
                      <a:pt x="3" y="157"/>
                      <a:pt x="3" y="157"/>
                    </a:cubicBezTo>
                    <a:cubicBezTo>
                      <a:pt x="8" y="157"/>
                      <a:pt x="17" y="159"/>
                      <a:pt x="18" y="159"/>
                    </a:cubicBezTo>
                    <a:cubicBezTo>
                      <a:pt x="19" y="160"/>
                      <a:pt x="16" y="161"/>
                      <a:pt x="17" y="163"/>
                    </a:cubicBezTo>
                    <a:cubicBezTo>
                      <a:pt x="20" y="166"/>
                      <a:pt x="24" y="168"/>
                      <a:pt x="27" y="170"/>
                    </a:cubicBezTo>
                    <a:cubicBezTo>
                      <a:pt x="37" y="174"/>
                      <a:pt x="38" y="159"/>
                      <a:pt x="44" y="160"/>
                    </a:cubicBezTo>
                    <a:cubicBezTo>
                      <a:pt x="56" y="162"/>
                      <a:pt x="44" y="168"/>
                      <a:pt x="48" y="170"/>
                    </a:cubicBezTo>
                    <a:cubicBezTo>
                      <a:pt x="57" y="174"/>
                      <a:pt x="49" y="169"/>
                      <a:pt x="58" y="170"/>
                    </a:cubicBezTo>
                    <a:cubicBezTo>
                      <a:pt x="63" y="170"/>
                      <a:pt x="67" y="182"/>
                      <a:pt x="76" y="177"/>
                    </a:cubicBezTo>
                    <a:cubicBezTo>
                      <a:pt x="83" y="162"/>
                      <a:pt x="83" y="162"/>
                      <a:pt x="83" y="162"/>
                    </a:cubicBezTo>
                    <a:cubicBezTo>
                      <a:pt x="88" y="159"/>
                      <a:pt x="108" y="161"/>
                      <a:pt x="113" y="160"/>
                    </a:cubicBezTo>
                    <a:cubicBezTo>
                      <a:pt x="121" y="160"/>
                      <a:pt x="128" y="152"/>
                      <a:pt x="137" y="152"/>
                    </a:cubicBezTo>
                    <a:cubicBezTo>
                      <a:pt x="139" y="152"/>
                      <a:pt x="133" y="155"/>
                      <a:pt x="132" y="157"/>
                    </a:cubicBezTo>
                    <a:cubicBezTo>
                      <a:pt x="129" y="169"/>
                      <a:pt x="137" y="161"/>
                      <a:pt x="141" y="168"/>
                    </a:cubicBezTo>
                    <a:cubicBezTo>
                      <a:pt x="142" y="170"/>
                      <a:pt x="139" y="172"/>
                      <a:pt x="141" y="174"/>
                    </a:cubicBezTo>
                    <a:cubicBezTo>
                      <a:pt x="141" y="176"/>
                      <a:pt x="143" y="173"/>
                      <a:pt x="144" y="174"/>
                    </a:cubicBezTo>
                    <a:cubicBezTo>
                      <a:pt x="155" y="182"/>
                      <a:pt x="158" y="184"/>
                      <a:pt x="172" y="186"/>
                    </a:cubicBezTo>
                    <a:cubicBezTo>
                      <a:pt x="189" y="188"/>
                      <a:pt x="207" y="189"/>
                      <a:pt x="224" y="191"/>
                    </a:cubicBezTo>
                    <a:cubicBezTo>
                      <a:pt x="229" y="192"/>
                      <a:pt x="233" y="195"/>
                      <a:pt x="238" y="196"/>
                    </a:cubicBezTo>
                    <a:cubicBezTo>
                      <a:pt x="242" y="197"/>
                      <a:pt x="247" y="193"/>
                      <a:pt x="252" y="194"/>
                    </a:cubicBezTo>
                    <a:cubicBezTo>
                      <a:pt x="254" y="194"/>
                      <a:pt x="256" y="198"/>
                      <a:pt x="259" y="198"/>
                    </a:cubicBezTo>
                    <a:cubicBezTo>
                      <a:pt x="260" y="199"/>
                      <a:pt x="259" y="195"/>
                      <a:pt x="261" y="195"/>
                    </a:cubicBezTo>
                    <a:cubicBezTo>
                      <a:pt x="263" y="192"/>
                      <a:pt x="268" y="191"/>
                      <a:pt x="271" y="187"/>
                    </a:cubicBezTo>
                    <a:cubicBezTo>
                      <a:pt x="273" y="186"/>
                      <a:pt x="271" y="182"/>
                      <a:pt x="273" y="180"/>
                    </a:cubicBezTo>
                    <a:cubicBezTo>
                      <a:pt x="284" y="172"/>
                      <a:pt x="295" y="182"/>
                      <a:pt x="305" y="178"/>
                    </a:cubicBezTo>
                    <a:cubicBezTo>
                      <a:pt x="309" y="176"/>
                      <a:pt x="309" y="171"/>
                      <a:pt x="313" y="170"/>
                    </a:cubicBezTo>
                    <a:cubicBezTo>
                      <a:pt x="313" y="169"/>
                      <a:pt x="332" y="172"/>
                      <a:pt x="332" y="172"/>
                    </a:cubicBezTo>
                    <a:cubicBezTo>
                      <a:pt x="334" y="171"/>
                      <a:pt x="331" y="169"/>
                      <a:pt x="330" y="167"/>
                    </a:cubicBezTo>
                    <a:cubicBezTo>
                      <a:pt x="329" y="161"/>
                      <a:pt x="331" y="158"/>
                      <a:pt x="335" y="157"/>
                    </a:cubicBezTo>
                    <a:cubicBezTo>
                      <a:pt x="345" y="146"/>
                      <a:pt x="350" y="144"/>
                      <a:pt x="355" y="135"/>
                    </a:cubicBezTo>
                    <a:cubicBezTo>
                      <a:pt x="356" y="133"/>
                      <a:pt x="346" y="121"/>
                      <a:pt x="349" y="116"/>
                    </a:cubicBezTo>
                    <a:cubicBezTo>
                      <a:pt x="353" y="108"/>
                      <a:pt x="362" y="116"/>
                      <a:pt x="361" y="105"/>
                    </a:cubicBezTo>
                    <a:cubicBezTo>
                      <a:pt x="361" y="95"/>
                      <a:pt x="344" y="96"/>
                      <a:pt x="347" y="94"/>
                    </a:cubicBezTo>
                    <a:cubicBezTo>
                      <a:pt x="355" y="87"/>
                      <a:pt x="375" y="96"/>
                      <a:pt x="379" y="90"/>
                    </a:cubicBezTo>
                    <a:cubicBezTo>
                      <a:pt x="379" y="87"/>
                      <a:pt x="371" y="69"/>
                      <a:pt x="379" y="66"/>
                    </a:cubicBezTo>
                    <a:cubicBezTo>
                      <a:pt x="373" y="58"/>
                      <a:pt x="367" y="51"/>
                      <a:pt x="362" y="43"/>
                    </a:cubicBezTo>
                    <a:cubicBezTo>
                      <a:pt x="357" y="35"/>
                      <a:pt x="374" y="23"/>
                      <a:pt x="362" y="15"/>
                    </a:cubicBezTo>
                    <a:cubicBezTo>
                      <a:pt x="360" y="14"/>
                      <a:pt x="358" y="17"/>
                      <a:pt x="356" y="17"/>
                    </a:cubicBezTo>
                    <a:cubicBezTo>
                      <a:pt x="353" y="17"/>
                      <a:pt x="348" y="9"/>
                      <a:pt x="344" y="10"/>
                    </a:cubicBezTo>
                    <a:cubicBezTo>
                      <a:pt x="341" y="11"/>
                      <a:pt x="340" y="16"/>
                      <a:pt x="336" y="18"/>
                    </a:cubicBezTo>
                    <a:cubicBezTo>
                      <a:pt x="334" y="18"/>
                      <a:pt x="331" y="17"/>
                      <a:pt x="329" y="17"/>
                    </a:cubicBezTo>
                    <a:cubicBezTo>
                      <a:pt x="314" y="15"/>
                      <a:pt x="301" y="3"/>
                      <a:pt x="284" y="3"/>
                    </a:cubicBezTo>
                    <a:cubicBezTo>
                      <a:pt x="282" y="3"/>
                      <a:pt x="279" y="6"/>
                      <a:pt x="276" y="6"/>
                    </a:cubicBezTo>
                    <a:cubicBezTo>
                      <a:pt x="275" y="6"/>
                      <a:pt x="276" y="3"/>
                      <a:pt x="275" y="2"/>
                    </a:cubicBezTo>
                    <a:cubicBezTo>
                      <a:pt x="273" y="1"/>
                      <a:pt x="270" y="0"/>
                      <a:pt x="268" y="2"/>
                    </a:cubicBezTo>
                    <a:cubicBezTo>
                      <a:pt x="267" y="3"/>
                      <a:pt x="269" y="19"/>
                      <a:pt x="267" y="21"/>
                    </a:cubicBezTo>
                    <a:cubicBezTo>
                      <a:pt x="266" y="22"/>
                      <a:pt x="262" y="18"/>
                      <a:pt x="260" y="20"/>
                    </a:cubicBezTo>
                    <a:cubicBezTo>
                      <a:pt x="255" y="35"/>
                      <a:pt x="255" y="35"/>
                      <a:pt x="255" y="35"/>
                    </a:cubicBezTo>
                    <a:cubicBezTo>
                      <a:pt x="252" y="36"/>
                      <a:pt x="248" y="31"/>
                      <a:pt x="244" y="31"/>
                    </a:cubicBezTo>
                    <a:cubicBezTo>
                      <a:pt x="241" y="31"/>
                      <a:pt x="242" y="35"/>
                      <a:pt x="240" y="36"/>
                    </a:cubicBezTo>
                    <a:cubicBezTo>
                      <a:pt x="228" y="40"/>
                      <a:pt x="221" y="28"/>
                      <a:pt x="212" y="24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2" y="26"/>
                      <a:pt x="212" y="27"/>
                      <a:pt x="212" y="29"/>
                    </a:cubicBezTo>
                    <a:cubicBezTo>
                      <a:pt x="212" y="44"/>
                      <a:pt x="209" y="41"/>
                      <a:pt x="197" y="38"/>
                    </a:cubicBezTo>
                    <a:cubicBezTo>
                      <a:pt x="196" y="38"/>
                      <a:pt x="194" y="39"/>
                      <a:pt x="194" y="40"/>
                    </a:cubicBezTo>
                    <a:cubicBezTo>
                      <a:pt x="193" y="45"/>
                      <a:pt x="196" y="52"/>
                      <a:pt x="190" y="56"/>
                    </a:cubicBezTo>
                    <a:cubicBezTo>
                      <a:pt x="185" y="60"/>
                      <a:pt x="162" y="66"/>
                      <a:pt x="161" y="75"/>
                    </a:cubicBezTo>
                    <a:cubicBezTo>
                      <a:pt x="161" y="75"/>
                      <a:pt x="175" y="94"/>
                      <a:pt x="175" y="94"/>
                    </a:cubicBezTo>
                    <a:cubicBezTo>
                      <a:pt x="175" y="95"/>
                      <a:pt x="167" y="101"/>
                      <a:pt x="170" y="104"/>
                    </a:cubicBezTo>
                    <a:cubicBezTo>
                      <a:pt x="176" y="109"/>
                      <a:pt x="182" y="101"/>
                      <a:pt x="177" y="120"/>
                    </a:cubicBezTo>
                    <a:cubicBezTo>
                      <a:pt x="177" y="121"/>
                      <a:pt x="176" y="122"/>
                      <a:pt x="175" y="122"/>
                    </a:cubicBezTo>
                    <a:cubicBezTo>
                      <a:pt x="157" y="117"/>
                      <a:pt x="171" y="108"/>
                      <a:pt x="163" y="108"/>
                    </a:cubicBezTo>
                    <a:cubicBezTo>
                      <a:pt x="158" y="108"/>
                      <a:pt x="154" y="112"/>
                      <a:pt x="150" y="111"/>
                    </a:cubicBezTo>
                    <a:cubicBezTo>
                      <a:pt x="147" y="111"/>
                      <a:pt x="148" y="107"/>
                      <a:pt x="146" y="106"/>
                    </a:cubicBezTo>
                    <a:cubicBezTo>
                      <a:pt x="143" y="105"/>
                      <a:pt x="139" y="108"/>
                      <a:pt x="137" y="107"/>
                    </a:cubicBezTo>
                    <a:cubicBezTo>
                      <a:pt x="136" y="106"/>
                      <a:pt x="138" y="103"/>
                      <a:pt x="137" y="103"/>
                    </a:cubicBezTo>
                    <a:cubicBezTo>
                      <a:pt x="130" y="103"/>
                      <a:pt x="136" y="112"/>
                      <a:pt x="134" y="113"/>
                    </a:cubicBezTo>
                    <a:cubicBezTo>
                      <a:pt x="126" y="115"/>
                      <a:pt x="113" y="112"/>
                      <a:pt x="106" y="114"/>
                    </a:cubicBezTo>
                    <a:cubicBezTo>
                      <a:pt x="104" y="116"/>
                      <a:pt x="105" y="120"/>
                      <a:pt x="103" y="121"/>
                    </a:cubicBezTo>
                    <a:cubicBezTo>
                      <a:pt x="100" y="122"/>
                      <a:pt x="98" y="120"/>
                      <a:pt x="95" y="121"/>
                    </a:cubicBezTo>
                    <a:cubicBezTo>
                      <a:pt x="94" y="122"/>
                      <a:pt x="96" y="125"/>
                      <a:pt x="95" y="126"/>
                    </a:cubicBezTo>
                    <a:cubicBezTo>
                      <a:pt x="94" y="126"/>
                      <a:pt x="75" y="131"/>
                      <a:pt x="73" y="130"/>
                    </a:cubicBezTo>
                    <a:cubicBezTo>
                      <a:pt x="72" y="129"/>
                      <a:pt x="73" y="126"/>
                      <a:pt x="72" y="125"/>
                    </a:cubicBezTo>
                    <a:cubicBezTo>
                      <a:pt x="71" y="124"/>
                      <a:pt x="68" y="124"/>
                      <a:pt x="68" y="123"/>
                    </a:cubicBezTo>
                    <a:cubicBezTo>
                      <a:pt x="67" y="122"/>
                      <a:pt x="70" y="122"/>
                      <a:pt x="70" y="121"/>
                    </a:cubicBezTo>
                    <a:cubicBezTo>
                      <a:pt x="68" y="114"/>
                      <a:pt x="52" y="123"/>
                      <a:pt x="47" y="118"/>
                    </a:cubicBezTo>
                    <a:cubicBezTo>
                      <a:pt x="47" y="118"/>
                      <a:pt x="48" y="117"/>
                      <a:pt x="48" y="117"/>
                    </a:cubicBezTo>
                    <a:cubicBezTo>
                      <a:pt x="45" y="114"/>
                      <a:pt x="48" y="124"/>
                      <a:pt x="47" y="128"/>
                    </a:cubicBezTo>
                    <a:cubicBezTo>
                      <a:pt x="47" y="130"/>
                      <a:pt x="37" y="143"/>
                      <a:pt x="33" y="139"/>
                    </a:cubicBezTo>
                    <a:cubicBezTo>
                      <a:pt x="30" y="137"/>
                      <a:pt x="37" y="134"/>
                      <a:pt x="35" y="131"/>
                    </a:cubicBezTo>
                    <a:cubicBezTo>
                      <a:pt x="34" y="131"/>
                      <a:pt x="33" y="133"/>
                      <a:pt x="31" y="133"/>
                    </a:cubicBezTo>
                    <a:cubicBezTo>
                      <a:pt x="30" y="133"/>
                      <a:pt x="29" y="133"/>
                      <a:pt x="28" y="131"/>
                    </a:cubicBezTo>
                    <a:cubicBezTo>
                      <a:pt x="27" y="130"/>
                      <a:pt x="31" y="127"/>
                      <a:pt x="28" y="125"/>
                    </a:cubicBezTo>
                    <a:cubicBezTo>
                      <a:pt x="26" y="124"/>
                      <a:pt x="25" y="121"/>
                      <a:pt x="22" y="120"/>
                    </a:cubicBezTo>
                    <a:cubicBezTo>
                      <a:pt x="21" y="118"/>
                      <a:pt x="18" y="121"/>
                      <a:pt x="16" y="121"/>
                    </a:cubicBezTo>
                    <a:cubicBezTo>
                      <a:pt x="15" y="120"/>
                      <a:pt x="16" y="117"/>
                      <a:pt x="15" y="116"/>
                    </a:cubicBezTo>
                    <a:cubicBezTo>
                      <a:pt x="12" y="113"/>
                      <a:pt x="13" y="124"/>
                      <a:pt x="4" y="121"/>
                    </a:cubicBezTo>
                    <a:cubicBezTo>
                      <a:pt x="3" y="120"/>
                      <a:pt x="3" y="120"/>
                      <a:pt x="2" y="120"/>
                    </a:cubicBezTo>
                    <a:lnTo>
                      <a:pt x="2" y="12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5" name="Czech Rep."/>
              <p:cNvSpPr>
                <a:spLocks/>
              </p:cNvSpPr>
              <p:nvPr/>
            </p:nvSpPr>
            <p:spPr bwMode="auto">
              <a:xfrm>
                <a:off x="5246767" y="4522284"/>
                <a:ext cx="553884" cy="361586"/>
              </a:xfrm>
              <a:custGeom>
                <a:avLst/>
                <a:gdLst>
                  <a:gd name="T0" fmla="*/ 291 w 332"/>
                  <a:gd name="T1" fmla="*/ 156 h 201"/>
                  <a:gd name="T2" fmla="*/ 299 w 332"/>
                  <a:gd name="T3" fmla="*/ 146 h 201"/>
                  <a:gd name="T4" fmla="*/ 332 w 332"/>
                  <a:gd name="T5" fmla="*/ 107 h 201"/>
                  <a:gd name="T6" fmla="*/ 320 w 332"/>
                  <a:gd name="T7" fmla="*/ 94 h 201"/>
                  <a:gd name="T8" fmla="*/ 302 w 332"/>
                  <a:gd name="T9" fmla="*/ 78 h 201"/>
                  <a:gd name="T10" fmla="*/ 289 w 332"/>
                  <a:gd name="T11" fmla="*/ 72 h 201"/>
                  <a:gd name="T12" fmla="*/ 277 w 332"/>
                  <a:gd name="T13" fmla="*/ 77 h 201"/>
                  <a:gd name="T14" fmla="*/ 267 w 332"/>
                  <a:gd name="T15" fmla="*/ 67 h 201"/>
                  <a:gd name="T16" fmla="*/ 270 w 332"/>
                  <a:gd name="T17" fmla="*/ 55 h 201"/>
                  <a:gd name="T18" fmla="*/ 262 w 332"/>
                  <a:gd name="T19" fmla="*/ 59 h 201"/>
                  <a:gd name="T20" fmla="*/ 231 w 332"/>
                  <a:gd name="T21" fmla="*/ 50 h 201"/>
                  <a:gd name="T22" fmla="*/ 229 w 332"/>
                  <a:gd name="T23" fmla="*/ 69 h 201"/>
                  <a:gd name="T24" fmla="*/ 212 w 332"/>
                  <a:gd name="T25" fmla="*/ 62 h 201"/>
                  <a:gd name="T26" fmla="*/ 204 w 332"/>
                  <a:gd name="T27" fmla="*/ 37 h 201"/>
                  <a:gd name="T28" fmla="*/ 187 w 332"/>
                  <a:gd name="T29" fmla="*/ 36 h 201"/>
                  <a:gd name="T30" fmla="*/ 181 w 332"/>
                  <a:gd name="T31" fmla="*/ 37 h 201"/>
                  <a:gd name="T32" fmla="*/ 155 w 332"/>
                  <a:gd name="T33" fmla="*/ 24 h 201"/>
                  <a:gd name="T34" fmla="*/ 134 w 332"/>
                  <a:gd name="T35" fmla="*/ 26 h 201"/>
                  <a:gd name="T36" fmla="*/ 105 w 332"/>
                  <a:gd name="T37" fmla="*/ 18 h 201"/>
                  <a:gd name="T38" fmla="*/ 88 w 332"/>
                  <a:gd name="T39" fmla="*/ 35 h 201"/>
                  <a:gd name="T40" fmla="*/ 73 w 332"/>
                  <a:gd name="T41" fmla="*/ 41 h 201"/>
                  <a:gd name="T42" fmla="*/ 65 w 332"/>
                  <a:gd name="T43" fmla="*/ 47 h 201"/>
                  <a:gd name="T44" fmla="*/ 49 w 332"/>
                  <a:gd name="T45" fmla="*/ 58 h 201"/>
                  <a:gd name="T46" fmla="*/ 37 w 332"/>
                  <a:gd name="T47" fmla="*/ 62 h 201"/>
                  <a:gd name="T48" fmla="*/ 13 w 332"/>
                  <a:gd name="T49" fmla="*/ 77 h 201"/>
                  <a:gd name="T50" fmla="*/ 22 w 332"/>
                  <a:gd name="T51" fmla="*/ 98 h 201"/>
                  <a:gd name="T52" fmla="*/ 20 w 332"/>
                  <a:gd name="T53" fmla="*/ 114 h 201"/>
                  <a:gd name="T54" fmla="*/ 52 w 332"/>
                  <a:gd name="T55" fmla="*/ 147 h 201"/>
                  <a:gd name="T56" fmla="*/ 92 w 332"/>
                  <a:gd name="T57" fmla="*/ 185 h 201"/>
                  <a:gd name="T58" fmla="*/ 121 w 332"/>
                  <a:gd name="T59" fmla="*/ 197 h 201"/>
                  <a:gd name="T60" fmla="*/ 136 w 332"/>
                  <a:gd name="T61" fmla="*/ 196 h 201"/>
                  <a:gd name="T62" fmla="*/ 148 w 332"/>
                  <a:gd name="T63" fmla="*/ 182 h 201"/>
                  <a:gd name="T64" fmla="*/ 156 w 332"/>
                  <a:gd name="T65" fmla="*/ 163 h 201"/>
                  <a:gd name="T66" fmla="*/ 165 w 332"/>
                  <a:gd name="T67" fmla="*/ 164 h 201"/>
                  <a:gd name="T68" fmla="*/ 217 w 332"/>
                  <a:gd name="T69" fmla="*/ 179 h 201"/>
                  <a:gd name="T70" fmla="*/ 237 w 332"/>
                  <a:gd name="T71" fmla="*/ 178 h 201"/>
                  <a:gd name="T72" fmla="*/ 247 w 332"/>
                  <a:gd name="T73" fmla="*/ 183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2" h="201">
                    <a:moveTo>
                      <a:pt x="247" y="183"/>
                    </a:moveTo>
                    <a:cubicBezTo>
                      <a:pt x="255" y="149"/>
                      <a:pt x="274" y="178"/>
                      <a:pt x="291" y="156"/>
                    </a:cubicBezTo>
                    <a:cubicBezTo>
                      <a:pt x="292" y="154"/>
                      <a:pt x="290" y="152"/>
                      <a:pt x="292" y="150"/>
                    </a:cubicBezTo>
                    <a:cubicBezTo>
                      <a:pt x="293" y="148"/>
                      <a:pt x="297" y="149"/>
                      <a:pt x="299" y="146"/>
                    </a:cubicBezTo>
                    <a:cubicBezTo>
                      <a:pt x="299" y="146"/>
                      <a:pt x="303" y="129"/>
                      <a:pt x="303" y="128"/>
                    </a:cubicBezTo>
                    <a:cubicBezTo>
                      <a:pt x="308" y="119"/>
                      <a:pt x="322" y="112"/>
                      <a:pt x="332" y="107"/>
                    </a:cubicBezTo>
                    <a:cubicBezTo>
                      <a:pt x="329" y="105"/>
                      <a:pt x="331" y="100"/>
                      <a:pt x="329" y="97"/>
                    </a:cubicBezTo>
                    <a:cubicBezTo>
                      <a:pt x="327" y="94"/>
                      <a:pt x="322" y="96"/>
                      <a:pt x="320" y="94"/>
                    </a:cubicBezTo>
                    <a:cubicBezTo>
                      <a:pt x="319" y="94"/>
                      <a:pt x="314" y="80"/>
                      <a:pt x="314" y="80"/>
                    </a:cubicBezTo>
                    <a:cubicBezTo>
                      <a:pt x="311" y="77"/>
                      <a:pt x="306" y="79"/>
                      <a:pt x="302" y="78"/>
                    </a:cubicBezTo>
                    <a:cubicBezTo>
                      <a:pt x="299" y="77"/>
                      <a:pt x="293" y="76"/>
                      <a:pt x="291" y="74"/>
                    </a:cubicBezTo>
                    <a:cubicBezTo>
                      <a:pt x="290" y="73"/>
                      <a:pt x="290" y="71"/>
                      <a:pt x="289" y="72"/>
                    </a:cubicBezTo>
                    <a:cubicBezTo>
                      <a:pt x="279" y="76"/>
                      <a:pt x="298" y="77"/>
                      <a:pt x="281" y="79"/>
                    </a:cubicBezTo>
                    <a:cubicBezTo>
                      <a:pt x="280" y="79"/>
                      <a:pt x="279" y="78"/>
                      <a:pt x="277" y="77"/>
                    </a:cubicBezTo>
                    <a:cubicBezTo>
                      <a:pt x="276" y="75"/>
                      <a:pt x="276" y="72"/>
                      <a:pt x="275" y="71"/>
                    </a:cubicBezTo>
                    <a:cubicBezTo>
                      <a:pt x="272" y="69"/>
                      <a:pt x="264" y="68"/>
                      <a:pt x="267" y="67"/>
                    </a:cubicBezTo>
                    <a:cubicBezTo>
                      <a:pt x="274" y="60"/>
                      <a:pt x="279" y="68"/>
                      <a:pt x="272" y="55"/>
                    </a:cubicBezTo>
                    <a:cubicBezTo>
                      <a:pt x="272" y="54"/>
                      <a:pt x="271" y="54"/>
                      <a:pt x="270" y="55"/>
                    </a:cubicBezTo>
                    <a:cubicBezTo>
                      <a:pt x="269" y="56"/>
                      <a:pt x="270" y="58"/>
                      <a:pt x="269" y="59"/>
                    </a:cubicBezTo>
                    <a:cubicBezTo>
                      <a:pt x="267" y="60"/>
                      <a:pt x="264" y="59"/>
                      <a:pt x="262" y="59"/>
                    </a:cubicBezTo>
                    <a:cubicBezTo>
                      <a:pt x="259" y="59"/>
                      <a:pt x="256" y="60"/>
                      <a:pt x="254" y="59"/>
                    </a:cubicBezTo>
                    <a:cubicBezTo>
                      <a:pt x="249" y="58"/>
                      <a:pt x="239" y="49"/>
                      <a:pt x="231" y="50"/>
                    </a:cubicBezTo>
                    <a:cubicBezTo>
                      <a:pt x="228" y="51"/>
                      <a:pt x="240" y="63"/>
                      <a:pt x="239" y="64"/>
                    </a:cubicBezTo>
                    <a:cubicBezTo>
                      <a:pt x="238" y="68"/>
                      <a:pt x="232" y="67"/>
                      <a:pt x="229" y="69"/>
                    </a:cubicBezTo>
                    <a:cubicBezTo>
                      <a:pt x="228" y="71"/>
                      <a:pt x="228" y="75"/>
                      <a:pt x="226" y="76"/>
                    </a:cubicBezTo>
                    <a:cubicBezTo>
                      <a:pt x="217" y="79"/>
                      <a:pt x="214" y="64"/>
                      <a:pt x="212" y="62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198" y="47"/>
                      <a:pt x="220" y="44"/>
                      <a:pt x="204" y="37"/>
                    </a:cubicBezTo>
                    <a:cubicBezTo>
                      <a:pt x="202" y="35"/>
                      <a:pt x="189" y="42"/>
                      <a:pt x="189" y="42"/>
                    </a:cubicBezTo>
                    <a:cubicBezTo>
                      <a:pt x="187" y="40"/>
                      <a:pt x="189" y="37"/>
                      <a:pt x="187" y="36"/>
                    </a:cubicBezTo>
                    <a:cubicBezTo>
                      <a:pt x="187" y="34"/>
                      <a:pt x="185" y="36"/>
                      <a:pt x="183" y="36"/>
                    </a:cubicBezTo>
                    <a:cubicBezTo>
                      <a:pt x="183" y="36"/>
                      <a:pt x="182" y="38"/>
                      <a:pt x="181" y="37"/>
                    </a:cubicBezTo>
                    <a:cubicBezTo>
                      <a:pt x="180" y="36"/>
                      <a:pt x="181" y="33"/>
                      <a:pt x="178" y="31"/>
                    </a:cubicBezTo>
                    <a:cubicBezTo>
                      <a:pt x="171" y="27"/>
                      <a:pt x="164" y="32"/>
                      <a:pt x="155" y="24"/>
                    </a:cubicBezTo>
                    <a:cubicBezTo>
                      <a:pt x="148" y="20"/>
                      <a:pt x="157" y="15"/>
                      <a:pt x="147" y="14"/>
                    </a:cubicBezTo>
                    <a:cubicBezTo>
                      <a:pt x="131" y="11"/>
                      <a:pt x="149" y="24"/>
                      <a:pt x="134" y="26"/>
                    </a:cubicBezTo>
                    <a:cubicBezTo>
                      <a:pt x="133" y="28"/>
                      <a:pt x="132" y="30"/>
                      <a:pt x="130" y="30"/>
                    </a:cubicBezTo>
                    <a:cubicBezTo>
                      <a:pt x="123" y="32"/>
                      <a:pt x="111" y="0"/>
                      <a:pt x="105" y="18"/>
                    </a:cubicBezTo>
                    <a:cubicBezTo>
                      <a:pt x="104" y="21"/>
                      <a:pt x="114" y="23"/>
                      <a:pt x="112" y="25"/>
                    </a:cubicBezTo>
                    <a:cubicBezTo>
                      <a:pt x="105" y="30"/>
                      <a:pt x="95" y="31"/>
                      <a:pt x="88" y="35"/>
                    </a:cubicBezTo>
                    <a:cubicBezTo>
                      <a:pt x="87" y="36"/>
                      <a:pt x="88" y="38"/>
                      <a:pt x="87" y="39"/>
                    </a:cubicBezTo>
                    <a:cubicBezTo>
                      <a:pt x="83" y="41"/>
                      <a:pt x="77" y="38"/>
                      <a:pt x="73" y="41"/>
                    </a:cubicBezTo>
                    <a:cubicBezTo>
                      <a:pt x="70" y="43"/>
                      <a:pt x="71" y="47"/>
                      <a:pt x="69" y="50"/>
                    </a:cubicBezTo>
                    <a:cubicBezTo>
                      <a:pt x="67" y="51"/>
                      <a:pt x="66" y="47"/>
                      <a:pt x="65" y="47"/>
                    </a:cubicBezTo>
                    <a:cubicBezTo>
                      <a:pt x="60" y="49"/>
                      <a:pt x="59" y="55"/>
                      <a:pt x="56" y="58"/>
                    </a:cubicBezTo>
                    <a:cubicBezTo>
                      <a:pt x="54" y="59"/>
                      <a:pt x="50" y="57"/>
                      <a:pt x="49" y="58"/>
                    </a:cubicBezTo>
                    <a:cubicBezTo>
                      <a:pt x="47" y="59"/>
                      <a:pt x="49" y="63"/>
                      <a:pt x="47" y="64"/>
                    </a:cubicBezTo>
                    <a:cubicBezTo>
                      <a:pt x="45" y="67"/>
                      <a:pt x="39" y="62"/>
                      <a:pt x="37" y="62"/>
                    </a:cubicBezTo>
                    <a:cubicBezTo>
                      <a:pt x="23" y="64"/>
                      <a:pt x="20" y="75"/>
                      <a:pt x="16" y="84"/>
                    </a:cubicBezTo>
                    <a:cubicBezTo>
                      <a:pt x="15" y="86"/>
                      <a:pt x="15" y="79"/>
                      <a:pt x="13" y="77"/>
                    </a:cubicBezTo>
                    <a:cubicBezTo>
                      <a:pt x="11" y="75"/>
                      <a:pt x="7" y="74"/>
                      <a:pt x="5" y="73"/>
                    </a:cubicBezTo>
                    <a:cubicBezTo>
                      <a:pt x="0" y="72"/>
                      <a:pt x="10" y="90"/>
                      <a:pt x="22" y="98"/>
                    </a:cubicBezTo>
                    <a:cubicBezTo>
                      <a:pt x="23" y="98"/>
                      <a:pt x="27" y="99"/>
                      <a:pt x="27" y="102"/>
                    </a:cubicBezTo>
                    <a:cubicBezTo>
                      <a:pt x="29" y="110"/>
                      <a:pt x="22" y="107"/>
                      <a:pt x="20" y="114"/>
                    </a:cubicBezTo>
                    <a:cubicBezTo>
                      <a:pt x="20" y="115"/>
                      <a:pt x="32" y="136"/>
                      <a:pt x="34" y="138"/>
                    </a:cubicBezTo>
                    <a:cubicBezTo>
                      <a:pt x="44" y="148"/>
                      <a:pt x="46" y="141"/>
                      <a:pt x="52" y="147"/>
                    </a:cubicBezTo>
                    <a:cubicBezTo>
                      <a:pt x="56" y="151"/>
                      <a:pt x="57" y="157"/>
                      <a:pt x="61" y="161"/>
                    </a:cubicBezTo>
                    <a:cubicBezTo>
                      <a:pt x="69" y="166"/>
                      <a:pt x="88" y="174"/>
                      <a:pt x="92" y="185"/>
                    </a:cubicBezTo>
                    <a:cubicBezTo>
                      <a:pt x="93" y="185"/>
                      <a:pt x="93" y="185"/>
                      <a:pt x="93" y="185"/>
                    </a:cubicBezTo>
                    <a:cubicBezTo>
                      <a:pt x="102" y="189"/>
                      <a:pt x="109" y="201"/>
                      <a:pt x="121" y="197"/>
                    </a:cubicBezTo>
                    <a:cubicBezTo>
                      <a:pt x="123" y="196"/>
                      <a:pt x="122" y="192"/>
                      <a:pt x="125" y="192"/>
                    </a:cubicBezTo>
                    <a:cubicBezTo>
                      <a:pt x="129" y="192"/>
                      <a:pt x="133" y="197"/>
                      <a:pt x="136" y="196"/>
                    </a:cubicBezTo>
                    <a:cubicBezTo>
                      <a:pt x="141" y="181"/>
                      <a:pt x="141" y="181"/>
                      <a:pt x="141" y="181"/>
                    </a:cubicBezTo>
                    <a:cubicBezTo>
                      <a:pt x="143" y="179"/>
                      <a:pt x="147" y="183"/>
                      <a:pt x="148" y="182"/>
                    </a:cubicBezTo>
                    <a:cubicBezTo>
                      <a:pt x="150" y="180"/>
                      <a:pt x="148" y="164"/>
                      <a:pt x="149" y="163"/>
                    </a:cubicBezTo>
                    <a:cubicBezTo>
                      <a:pt x="151" y="161"/>
                      <a:pt x="154" y="162"/>
                      <a:pt x="156" y="163"/>
                    </a:cubicBezTo>
                    <a:cubicBezTo>
                      <a:pt x="157" y="164"/>
                      <a:pt x="156" y="167"/>
                      <a:pt x="157" y="167"/>
                    </a:cubicBezTo>
                    <a:cubicBezTo>
                      <a:pt x="160" y="167"/>
                      <a:pt x="163" y="164"/>
                      <a:pt x="165" y="164"/>
                    </a:cubicBezTo>
                    <a:cubicBezTo>
                      <a:pt x="182" y="164"/>
                      <a:pt x="195" y="176"/>
                      <a:pt x="210" y="178"/>
                    </a:cubicBezTo>
                    <a:cubicBezTo>
                      <a:pt x="212" y="178"/>
                      <a:pt x="215" y="179"/>
                      <a:pt x="217" y="179"/>
                    </a:cubicBezTo>
                    <a:cubicBezTo>
                      <a:pt x="221" y="177"/>
                      <a:pt x="222" y="172"/>
                      <a:pt x="225" y="171"/>
                    </a:cubicBezTo>
                    <a:cubicBezTo>
                      <a:pt x="229" y="170"/>
                      <a:pt x="234" y="178"/>
                      <a:pt x="237" y="178"/>
                    </a:cubicBezTo>
                    <a:cubicBezTo>
                      <a:pt x="239" y="178"/>
                      <a:pt x="241" y="175"/>
                      <a:pt x="243" y="176"/>
                    </a:cubicBezTo>
                    <a:cubicBezTo>
                      <a:pt x="246" y="178"/>
                      <a:pt x="247" y="180"/>
                      <a:pt x="247" y="183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6" name="Slovakia"/>
              <p:cNvSpPr>
                <a:spLocks/>
              </p:cNvSpPr>
              <p:nvPr/>
            </p:nvSpPr>
            <p:spPr bwMode="auto">
              <a:xfrm>
                <a:off x="5645149" y="4689538"/>
                <a:ext cx="460581" cy="273976"/>
              </a:xfrm>
              <a:custGeom>
                <a:avLst/>
                <a:gdLst>
                  <a:gd name="T0" fmla="*/ 275 w 275"/>
                  <a:gd name="T1" fmla="*/ 20 h 152"/>
                  <a:gd name="T2" fmla="*/ 271 w 275"/>
                  <a:gd name="T3" fmla="*/ 39 h 152"/>
                  <a:gd name="T4" fmla="*/ 269 w 275"/>
                  <a:gd name="T5" fmla="*/ 51 h 152"/>
                  <a:gd name="T6" fmla="*/ 262 w 275"/>
                  <a:gd name="T7" fmla="*/ 60 h 152"/>
                  <a:gd name="T8" fmla="*/ 264 w 275"/>
                  <a:gd name="T9" fmla="*/ 72 h 152"/>
                  <a:gd name="T10" fmla="*/ 251 w 275"/>
                  <a:gd name="T11" fmla="*/ 78 h 152"/>
                  <a:gd name="T12" fmla="*/ 244 w 275"/>
                  <a:gd name="T13" fmla="*/ 80 h 152"/>
                  <a:gd name="T14" fmla="*/ 228 w 275"/>
                  <a:gd name="T15" fmla="*/ 65 h 152"/>
                  <a:gd name="T16" fmla="*/ 213 w 275"/>
                  <a:gd name="T17" fmla="*/ 74 h 152"/>
                  <a:gd name="T18" fmla="*/ 183 w 275"/>
                  <a:gd name="T19" fmla="*/ 76 h 152"/>
                  <a:gd name="T20" fmla="*/ 175 w 275"/>
                  <a:gd name="T21" fmla="*/ 99 h 152"/>
                  <a:gd name="T22" fmla="*/ 167 w 275"/>
                  <a:gd name="T23" fmla="*/ 98 h 152"/>
                  <a:gd name="T24" fmla="*/ 157 w 275"/>
                  <a:gd name="T25" fmla="*/ 110 h 152"/>
                  <a:gd name="T26" fmla="*/ 138 w 275"/>
                  <a:gd name="T27" fmla="*/ 106 h 152"/>
                  <a:gd name="T28" fmla="*/ 137 w 275"/>
                  <a:gd name="T29" fmla="*/ 116 h 152"/>
                  <a:gd name="T30" fmla="*/ 105 w 275"/>
                  <a:gd name="T31" fmla="*/ 124 h 152"/>
                  <a:gd name="T32" fmla="*/ 108 w 275"/>
                  <a:gd name="T33" fmla="*/ 140 h 152"/>
                  <a:gd name="T34" fmla="*/ 55 w 275"/>
                  <a:gd name="T35" fmla="*/ 151 h 152"/>
                  <a:gd name="T36" fmla="*/ 26 w 275"/>
                  <a:gd name="T37" fmla="*/ 133 h 152"/>
                  <a:gd name="T38" fmla="*/ 21 w 275"/>
                  <a:gd name="T39" fmla="*/ 134 h 152"/>
                  <a:gd name="T40" fmla="*/ 4 w 275"/>
                  <a:gd name="T41" fmla="*/ 111 h 152"/>
                  <a:gd name="T42" fmla="*/ 8 w 275"/>
                  <a:gd name="T43" fmla="*/ 90 h 152"/>
                  <a:gd name="T44" fmla="*/ 52 w 275"/>
                  <a:gd name="T45" fmla="*/ 63 h 152"/>
                  <a:gd name="T46" fmla="*/ 53 w 275"/>
                  <a:gd name="T47" fmla="*/ 57 h 152"/>
                  <a:gd name="T48" fmla="*/ 60 w 275"/>
                  <a:gd name="T49" fmla="*/ 53 h 152"/>
                  <a:gd name="T50" fmla="*/ 64 w 275"/>
                  <a:gd name="T51" fmla="*/ 35 h 152"/>
                  <a:gd name="T52" fmla="*/ 93 w 275"/>
                  <a:gd name="T53" fmla="*/ 14 h 152"/>
                  <a:gd name="T54" fmla="*/ 99 w 275"/>
                  <a:gd name="T55" fmla="*/ 15 h 152"/>
                  <a:gd name="T56" fmla="*/ 100 w 275"/>
                  <a:gd name="T57" fmla="*/ 22 h 152"/>
                  <a:gd name="T58" fmla="*/ 122 w 275"/>
                  <a:gd name="T59" fmla="*/ 5 h 152"/>
                  <a:gd name="T60" fmla="*/ 128 w 275"/>
                  <a:gd name="T61" fmla="*/ 15 h 152"/>
                  <a:gd name="T62" fmla="*/ 132 w 275"/>
                  <a:gd name="T63" fmla="*/ 14 h 152"/>
                  <a:gd name="T64" fmla="*/ 131 w 275"/>
                  <a:gd name="T65" fmla="*/ 18 h 152"/>
                  <a:gd name="T66" fmla="*/ 139 w 275"/>
                  <a:gd name="T67" fmla="*/ 17 h 152"/>
                  <a:gd name="T68" fmla="*/ 140 w 275"/>
                  <a:gd name="T69" fmla="*/ 31 h 152"/>
                  <a:gd name="T70" fmla="*/ 148 w 275"/>
                  <a:gd name="T71" fmla="*/ 29 h 152"/>
                  <a:gd name="T72" fmla="*/ 154 w 275"/>
                  <a:gd name="T73" fmla="*/ 31 h 152"/>
                  <a:gd name="T74" fmla="*/ 170 w 275"/>
                  <a:gd name="T75" fmla="*/ 12 h 152"/>
                  <a:gd name="T76" fmla="*/ 176 w 275"/>
                  <a:gd name="T77" fmla="*/ 13 h 152"/>
                  <a:gd name="T78" fmla="*/ 182 w 275"/>
                  <a:gd name="T79" fmla="*/ 10 h 152"/>
                  <a:gd name="T80" fmla="*/ 194 w 275"/>
                  <a:gd name="T81" fmla="*/ 17 h 152"/>
                  <a:gd name="T82" fmla="*/ 202 w 275"/>
                  <a:gd name="T83" fmla="*/ 10 h 152"/>
                  <a:gd name="T84" fmla="*/ 199 w 275"/>
                  <a:gd name="T85" fmla="*/ 8 h 152"/>
                  <a:gd name="T86" fmla="*/ 206 w 275"/>
                  <a:gd name="T87" fmla="*/ 7 h 152"/>
                  <a:gd name="T88" fmla="*/ 210 w 275"/>
                  <a:gd name="T89" fmla="*/ 3 h 152"/>
                  <a:gd name="T90" fmla="*/ 245 w 275"/>
                  <a:gd name="T91" fmla="*/ 7 h 152"/>
                  <a:gd name="T92" fmla="*/ 248 w 275"/>
                  <a:gd name="T93" fmla="*/ 14 h 152"/>
                  <a:gd name="T94" fmla="*/ 260 w 275"/>
                  <a:gd name="T95" fmla="*/ 17 h 152"/>
                  <a:gd name="T96" fmla="*/ 275 w 275"/>
                  <a:gd name="T97" fmla="*/ 2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5" h="152">
                    <a:moveTo>
                      <a:pt x="275" y="20"/>
                    </a:moveTo>
                    <a:cubicBezTo>
                      <a:pt x="275" y="26"/>
                      <a:pt x="271" y="34"/>
                      <a:pt x="271" y="39"/>
                    </a:cubicBezTo>
                    <a:cubicBezTo>
                      <a:pt x="270" y="43"/>
                      <a:pt x="271" y="47"/>
                      <a:pt x="269" y="51"/>
                    </a:cubicBezTo>
                    <a:cubicBezTo>
                      <a:pt x="268" y="55"/>
                      <a:pt x="262" y="56"/>
                      <a:pt x="262" y="60"/>
                    </a:cubicBezTo>
                    <a:cubicBezTo>
                      <a:pt x="261" y="64"/>
                      <a:pt x="264" y="68"/>
                      <a:pt x="264" y="72"/>
                    </a:cubicBezTo>
                    <a:cubicBezTo>
                      <a:pt x="264" y="77"/>
                      <a:pt x="255" y="77"/>
                      <a:pt x="251" y="78"/>
                    </a:cubicBezTo>
                    <a:cubicBezTo>
                      <a:pt x="248" y="78"/>
                      <a:pt x="246" y="81"/>
                      <a:pt x="244" y="80"/>
                    </a:cubicBezTo>
                    <a:cubicBezTo>
                      <a:pt x="234" y="77"/>
                      <a:pt x="242" y="66"/>
                      <a:pt x="228" y="65"/>
                    </a:cubicBezTo>
                    <a:cubicBezTo>
                      <a:pt x="222" y="65"/>
                      <a:pt x="219" y="73"/>
                      <a:pt x="213" y="74"/>
                    </a:cubicBezTo>
                    <a:cubicBezTo>
                      <a:pt x="204" y="76"/>
                      <a:pt x="191" y="65"/>
                      <a:pt x="183" y="76"/>
                    </a:cubicBezTo>
                    <a:cubicBezTo>
                      <a:pt x="179" y="81"/>
                      <a:pt x="182" y="96"/>
                      <a:pt x="175" y="99"/>
                    </a:cubicBezTo>
                    <a:cubicBezTo>
                      <a:pt x="173" y="99"/>
                      <a:pt x="170" y="97"/>
                      <a:pt x="167" y="98"/>
                    </a:cubicBezTo>
                    <a:cubicBezTo>
                      <a:pt x="158" y="104"/>
                      <a:pt x="171" y="108"/>
                      <a:pt x="157" y="110"/>
                    </a:cubicBezTo>
                    <a:cubicBezTo>
                      <a:pt x="153" y="111"/>
                      <a:pt x="142" y="98"/>
                      <a:pt x="138" y="106"/>
                    </a:cubicBezTo>
                    <a:cubicBezTo>
                      <a:pt x="136" y="109"/>
                      <a:pt x="139" y="114"/>
                      <a:pt x="137" y="116"/>
                    </a:cubicBezTo>
                    <a:cubicBezTo>
                      <a:pt x="131" y="122"/>
                      <a:pt x="113" y="119"/>
                      <a:pt x="105" y="124"/>
                    </a:cubicBezTo>
                    <a:cubicBezTo>
                      <a:pt x="98" y="129"/>
                      <a:pt x="106" y="137"/>
                      <a:pt x="108" y="140"/>
                    </a:cubicBezTo>
                    <a:cubicBezTo>
                      <a:pt x="110" y="144"/>
                      <a:pt x="62" y="152"/>
                      <a:pt x="55" y="151"/>
                    </a:cubicBezTo>
                    <a:cubicBezTo>
                      <a:pt x="45" y="149"/>
                      <a:pt x="37" y="134"/>
                      <a:pt x="26" y="133"/>
                    </a:cubicBezTo>
                    <a:cubicBezTo>
                      <a:pt x="24" y="133"/>
                      <a:pt x="23" y="133"/>
                      <a:pt x="21" y="134"/>
                    </a:cubicBezTo>
                    <a:cubicBezTo>
                      <a:pt x="15" y="126"/>
                      <a:pt x="9" y="119"/>
                      <a:pt x="4" y="111"/>
                    </a:cubicBezTo>
                    <a:cubicBezTo>
                      <a:pt x="0" y="105"/>
                      <a:pt x="9" y="97"/>
                      <a:pt x="8" y="90"/>
                    </a:cubicBezTo>
                    <a:cubicBezTo>
                      <a:pt x="16" y="56"/>
                      <a:pt x="35" y="84"/>
                      <a:pt x="52" y="63"/>
                    </a:cubicBezTo>
                    <a:cubicBezTo>
                      <a:pt x="53" y="61"/>
                      <a:pt x="51" y="59"/>
                      <a:pt x="53" y="57"/>
                    </a:cubicBezTo>
                    <a:cubicBezTo>
                      <a:pt x="54" y="55"/>
                      <a:pt x="58" y="56"/>
                      <a:pt x="60" y="53"/>
                    </a:cubicBezTo>
                    <a:cubicBezTo>
                      <a:pt x="60" y="53"/>
                      <a:pt x="64" y="36"/>
                      <a:pt x="64" y="35"/>
                    </a:cubicBezTo>
                    <a:cubicBezTo>
                      <a:pt x="69" y="26"/>
                      <a:pt x="83" y="19"/>
                      <a:pt x="93" y="14"/>
                    </a:cubicBezTo>
                    <a:cubicBezTo>
                      <a:pt x="94" y="16"/>
                      <a:pt x="98" y="13"/>
                      <a:pt x="99" y="15"/>
                    </a:cubicBezTo>
                    <a:cubicBezTo>
                      <a:pt x="101" y="17"/>
                      <a:pt x="98" y="21"/>
                      <a:pt x="100" y="22"/>
                    </a:cubicBezTo>
                    <a:cubicBezTo>
                      <a:pt x="109" y="30"/>
                      <a:pt x="116" y="1"/>
                      <a:pt x="122" y="5"/>
                    </a:cubicBezTo>
                    <a:cubicBezTo>
                      <a:pt x="126" y="7"/>
                      <a:pt x="126" y="12"/>
                      <a:pt x="128" y="15"/>
                    </a:cubicBezTo>
                    <a:cubicBezTo>
                      <a:pt x="129" y="16"/>
                      <a:pt x="131" y="14"/>
                      <a:pt x="132" y="14"/>
                    </a:cubicBezTo>
                    <a:cubicBezTo>
                      <a:pt x="132" y="16"/>
                      <a:pt x="130" y="18"/>
                      <a:pt x="131" y="18"/>
                    </a:cubicBezTo>
                    <a:cubicBezTo>
                      <a:pt x="134" y="19"/>
                      <a:pt x="137" y="16"/>
                      <a:pt x="139" y="17"/>
                    </a:cubicBezTo>
                    <a:cubicBezTo>
                      <a:pt x="143" y="19"/>
                      <a:pt x="140" y="30"/>
                      <a:pt x="140" y="31"/>
                    </a:cubicBezTo>
                    <a:cubicBezTo>
                      <a:pt x="140" y="34"/>
                      <a:pt x="145" y="29"/>
                      <a:pt x="148" y="29"/>
                    </a:cubicBezTo>
                    <a:cubicBezTo>
                      <a:pt x="150" y="28"/>
                      <a:pt x="152" y="33"/>
                      <a:pt x="154" y="31"/>
                    </a:cubicBezTo>
                    <a:cubicBezTo>
                      <a:pt x="155" y="31"/>
                      <a:pt x="162" y="13"/>
                      <a:pt x="170" y="12"/>
                    </a:cubicBezTo>
                    <a:cubicBezTo>
                      <a:pt x="172" y="11"/>
                      <a:pt x="174" y="13"/>
                      <a:pt x="176" y="13"/>
                    </a:cubicBezTo>
                    <a:cubicBezTo>
                      <a:pt x="179" y="13"/>
                      <a:pt x="180" y="9"/>
                      <a:pt x="182" y="10"/>
                    </a:cubicBezTo>
                    <a:cubicBezTo>
                      <a:pt x="187" y="10"/>
                      <a:pt x="189" y="17"/>
                      <a:pt x="194" y="17"/>
                    </a:cubicBezTo>
                    <a:cubicBezTo>
                      <a:pt x="197" y="17"/>
                      <a:pt x="200" y="13"/>
                      <a:pt x="202" y="10"/>
                    </a:cubicBezTo>
                    <a:cubicBezTo>
                      <a:pt x="202" y="9"/>
                      <a:pt x="199" y="9"/>
                      <a:pt x="199" y="8"/>
                    </a:cubicBezTo>
                    <a:cubicBezTo>
                      <a:pt x="201" y="0"/>
                      <a:pt x="204" y="8"/>
                      <a:pt x="206" y="7"/>
                    </a:cubicBezTo>
                    <a:cubicBezTo>
                      <a:pt x="208" y="7"/>
                      <a:pt x="208" y="3"/>
                      <a:pt x="210" y="3"/>
                    </a:cubicBezTo>
                    <a:cubicBezTo>
                      <a:pt x="218" y="1"/>
                      <a:pt x="238" y="1"/>
                      <a:pt x="245" y="7"/>
                    </a:cubicBezTo>
                    <a:cubicBezTo>
                      <a:pt x="247" y="9"/>
                      <a:pt x="246" y="13"/>
                      <a:pt x="248" y="14"/>
                    </a:cubicBezTo>
                    <a:cubicBezTo>
                      <a:pt x="252" y="16"/>
                      <a:pt x="256" y="16"/>
                      <a:pt x="260" y="17"/>
                    </a:cubicBezTo>
                    <a:cubicBezTo>
                      <a:pt x="265" y="19"/>
                      <a:pt x="270" y="20"/>
                      <a:pt x="275" y="2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7" name="Hungary"/>
              <p:cNvSpPr>
                <a:spLocks/>
              </p:cNvSpPr>
              <p:nvPr/>
            </p:nvSpPr>
            <p:spPr bwMode="auto">
              <a:xfrm>
                <a:off x="5606644" y="4805819"/>
                <a:ext cx="553884" cy="417337"/>
              </a:xfrm>
              <a:custGeom>
                <a:avLst/>
                <a:gdLst>
                  <a:gd name="T0" fmla="*/ 27 w 331"/>
                  <a:gd name="T1" fmla="*/ 186 h 232"/>
                  <a:gd name="T2" fmla="*/ 77 w 331"/>
                  <a:gd name="T3" fmla="*/ 222 h 232"/>
                  <a:gd name="T4" fmla="*/ 94 w 331"/>
                  <a:gd name="T5" fmla="*/ 229 h 232"/>
                  <a:gd name="T6" fmla="*/ 139 w 331"/>
                  <a:gd name="T7" fmla="*/ 216 h 232"/>
                  <a:gd name="T8" fmla="*/ 161 w 331"/>
                  <a:gd name="T9" fmla="*/ 207 h 232"/>
                  <a:gd name="T10" fmla="*/ 182 w 331"/>
                  <a:gd name="T11" fmla="*/ 192 h 232"/>
                  <a:gd name="T12" fmla="*/ 210 w 331"/>
                  <a:gd name="T13" fmla="*/ 188 h 232"/>
                  <a:gd name="T14" fmla="*/ 221 w 331"/>
                  <a:gd name="T15" fmla="*/ 188 h 232"/>
                  <a:gd name="T16" fmla="*/ 245 w 331"/>
                  <a:gd name="T17" fmla="*/ 174 h 232"/>
                  <a:gd name="T18" fmla="*/ 257 w 331"/>
                  <a:gd name="T19" fmla="*/ 176 h 232"/>
                  <a:gd name="T20" fmla="*/ 272 w 331"/>
                  <a:gd name="T21" fmla="*/ 142 h 232"/>
                  <a:gd name="T22" fmla="*/ 281 w 331"/>
                  <a:gd name="T23" fmla="*/ 115 h 232"/>
                  <a:gd name="T24" fmla="*/ 288 w 331"/>
                  <a:gd name="T25" fmla="*/ 87 h 232"/>
                  <a:gd name="T26" fmla="*/ 303 w 331"/>
                  <a:gd name="T27" fmla="*/ 55 h 232"/>
                  <a:gd name="T28" fmla="*/ 329 w 331"/>
                  <a:gd name="T29" fmla="*/ 35 h 232"/>
                  <a:gd name="T30" fmla="*/ 319 w 331"/>
                  <a:gd name="T31" fmla="*/ 24 h 232"/>
                  <a:gd name="T32" fmla="*/ 306 w 331"/>
                  <a:gd name="T33" fmla="*/ 16 h 232"/>
                  <a:gd name="T34" fmla="*/ 300 w 331"/>
                  <a:gd name="T35" fmla="*/ 17 h 232"/>
                  <a:gd name="T36" fmla="*/ 274 w 331"/>
                  <a:gd name="T37" fmla="*/ 13 h 232"/>
                  <a:gd name="T38" fmla="*/ 251 w 331"/>
                  <a:gd name="T39" fmla="*/ 0 h 232"/>
                  <a:gd name="T40" fmla="*/ 225 w 331"/>
                  <a:gd name="T41" fmla="*/ 8 h 232"/>
                  <a:gd name="T42" fmla="*/ 198 w 331"/>
                  <a:gd name="T43" fmla="*/ 34 h 232"/>
                  <a:gd name="T44" fmla="*/ 190 w 331"/>
                  <a:gd name="T45" fmla="*/ 33 h 232"/>
                  <a:gd name="T46" fmla="*/ 173 w 331"/>
                  <a:gd name="T47" fmla="*/ 42 h 232"/>
                  <a:gd name="T48" fmla="*/ 160 w 331"/>
                  <a:gd name="T49" fmla="*/ 51 h 232"/>
                  <a:gd name="T50" fmla="*/ 131 w 331"/>
                  <a:gd name="T51" fmla="*/ 75 h 232"/>
                  <a:gd name="T52" fmla="*/ 49 w 331"/>
                  <a:gd name="T53" fmla="*/ 68 h 232"/>
                  <a:gd name="T54" fmla="*/ 44 w 331"/>
                  <a:gd name="T55" fmla="*/ 93 h 232"/>
                  <a:gd name="T56" fmla="*/ 12 w 331"/>
                  <a:gd name="T57" fmla="*/ 97 h 232"/>
                  <a:gd name="T58" fmla="*/ 14 w 331"/>
                  <a:gd name="T59" fmla="*/ 119 h 232"/>
                  <a:gd name="T60" fmla="*/ 0 w 331"/>
                  <a:gd name="T61" fmla="*/ 160 h 232"/>
                  <a:gd name="T62" fmla="*/ 3 w 331"/>
                  <a:gd name="T63" fmla="*/ 159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1" h="232">
                    <a:moveTo>
                      <a:pt x="9" y="159"/>
                    </a:moveTo>
                    <a:cubicBezTo>
                      <a:pt x="11" y="159"/>
                      <a:pt x="16" y="176"/>
                      <a:pt x="27" y="186"/>
                    </a:cubicBezTo>
                    <a:cubicBezTo>
                      <a:pt x="43" y="198"/>
                      <a:pt x="56" y="205"/>
                      <a:pt x="68" y="220"/>
                    </a:cubicBezTo>
                    <a:cubicBezTo>
                      <a:pt x="69" y="222"/>
                      <a:pt x="74" y="222"/>
                      <a:pt x="77" y="222"/>
                    </a:cubicBezTo>
                    <a:cubicBezTo>
                      <a:pt x="80" y="221"/>
                      <a:pt x="81" y="221"/>
                      <a:pt x="82" y="222"/>
                    </a:cubicBezTo>
                    <a:cubicBezTo>
                      <a:pt x="86" y="223"/>
                      <a:pt x="90" y="227"/>
                      <a:pt x="94" y="229"/>
                    </a:cubicBezTo>
                    <a:cubicBezTo>
                      <a:pt x="102" y="232"/>
                      <a:pt x="126" y="232"/>
                      <a:pt x="134" y="226"/>
                    </a:cubicBezTo>
                    <a:cubicBezTo>
                      <a:pt x="135" y="224"/>
                      <a:pt x="135" y="216"/>
                      <a:pt x="139" y="216"/>
                    </a:cubicBezTo>
                    <a:cubicBezTo>
                      <a:pt x="150" y="215"/>
                      <a:pt x="149" y="217"/>
                      <a:pt x="158" y="206"/>
                    </a:cubicBezTo>
                    <a:cubicBezTo>
                      <a:pt x="159" y="206"/>
                      <a:pt x="160" y="206"/>
                      <a:pt x="161" y="207"/>
                    </a:cubicBezTo>
                    <a:cubicBezTo>
                      <a:pt x="162" y="208"/>
                      <a:pt x="164" y="209"/>
                      <a:pt x="167" y="206"/>
                    </a:cubicBezTo>
                    <a:cubicBezTo>
                      <a:pt x="172" y="202"/>
                      <a:pt x="176" y="196"/>
                      <a:pt x="182" y="192"/>
                    </a:cubicBezTo>
                    <a:cubicBezTo>
                      <a:pt x="195" y="184"/>
                      <a:pt x="184" y="192"/>
                      <a:pt x="194" y="193"/>
                    </a:cubicBezTo>
                    <a:cubicBezTo>
                      <a:pt x="194" y="193"/>
                      <a:pt x="209" y="188"/>
                      <a:pt x="210" y="188"/>
                    </a:cubicBezTo>
                    <a:cubicBezTo>
                      <a:pt x="212" y="188"/>
                      <a:pt x="215" y="191"/>
                      <a:pt x="218" y="191"/>
                    </a:cubicBezTo>
                    <a:cubicBezTo>
                      <a:pt x="219" y="190"/>
                      <a:pt x="220" y="188"/>
                      <a:pt x="221" y="188"/>
                    </a:cubicBezTo>
                    <a:cubicBezTo>
                      <a:pt x="224" y="187"/>
                      <a:pt x="241" y="185"/>
                      <a:pt x="242" y="181"/>
                    </a:cubicBezTo>
                    <a:cubicBezTo>
                      <a:pt x="244" y="179"/>
                      <a:pt x="235" y="176"/>
                      <a:pt x="245" y="174"/>
                    </a:cubicBezTo>
                    <a:cubicBezTo>
                      <a:pt x="247" y="174"/>
                      <a:pt x="249" y="175"/>
                      <a:pt x="251" y="175"/>
                    </a:cubicBezTo>
                    <a:cubicBezTo>
                      <a:pt x="253" y="176"/>
                      <a:pt x="255" y="177"/>
                      <a:pt x="257" y="176"/>
                    </a:cubicBezTo>
                    <a:cubicBezTo>
                      <a:pt x="267" y="172"/>
                      <a:pt x="264" y="152"/>
                      <a:pt x="267" y="146"/>
                    </a:cubicBezTo>
                    <a:cubicBezTo>
                      <a:pt x="268" y="144"/>
                      <a:pt x="271" y="144"/>
                      <a:pt x="272" y="142"/>
                    </a:cubicBezTo>
                    <a:cubicBezTo>
                      <a:pt x="278" y="123"/>
                      <a:pt x="278" y="123"/>
                      <a:pt x="278" y="123"/>
                    </a:cubicBezTo>
                    <a:cubicBezTo>
                      <a:pt x="279" y="120"/>
                      <a:pt x="281" y="117"/>
                      <a:pt x="281" y="115"/>
                    </a:cubicBezTo>
                    <a:cubicBezTo>
                      <a:pt x="281" y="114"/>
                      <a:pt x="278" y="114"/>
                      <a:pt x="278" y="112"/>
                    </a:cubicBezTo>
                    <a:cubicBezTo>
                      <a:pt x="279" y="107"/>
                      <a:pt x="285" y="91"/>
                      <a:pt x="288" y="87"/>
                    </a:cubicBezTo>
                    <a:cubicBezTo>
                      <a:pt x="289" y="86"/>
                      <a:pt x="292" y="87"/>
                      <a:pt x="292" y="85"/>
                    </a:cubicBezTo>
                    <a:cubicBezTo>
                      <a:pt x="294" y="74"/>
                      <a:pt x="291" y="67"/>
                      <a:pt x="303" y="55"/>
                    </a:cubicBezTo>
                    <a:cubicBezTo>
                      <a:pt x="307" y="50"/>
                      <a:pt x="311" y="53"/>
                      <a:pt x="318" y="51"/>
                    </a:cubicBezTo>
                    <a:cubicBezTo>
                      <a:pt x="324" y="48"/>
                      <a:pt x="324" y="39"/>
                      <a:pt x="329" y="35"/>
                    </a:cubicBezTo>
                    <a:cubicBezTo>
                      <a:pt x="322" y="29"/>
                      <a:pt x="331" y="30"/>
                      <a:pt x="324" y="25"/>
                    </a:cubicBezTo>
                    <a:cubicBezTo>
                      <a:pt x="323" y="25"/>
                      <a:pt x="321" y="24"/>
                      <a:pt x="319" y="24"/>
                    </a:cubicBezTo>
                    <a:cubicBezTo>
                      <a:pt x="317" y="24"/>
                      <a:pt x="315" y="27"/>
                      <a:pt x="313" y="26"/>
                    </a:cubicBezTo>
                    <a:cubicBezTo>
                      <a:pt x="310" y="24"/>
                      <a:pt x="309" y="18"/>
                      <a:pt x="306" y="16"/>
                    </a:cubicBezTo>
                    <a:cubicBezTo>
                      <a:pt x="305" y="16"/>
                      <a:pt x="304" y="16"/>
                      <a:pt x="303" y="17"/>
                    </a:cubicBezTo>
                    <a:cubicBezTo>
                      <a:pt x="302" y="17"/>
                      <a:pt x="301" y="18"/>
                      <a:pt x="300" y="17"/>
                    </a:cubicBezTo>
                    <a:cubicBezTo>
                      <a:pt x="291" y="14"/>
                      <a:pt x="300" y="8"/>
                      <a:pt x="287" y="7"/>
                    </a:cubicBezTo>
                    <a:cubicBezTo>
                      <a:pt x="287" y="12"/>
                      <a:pt x="278" y="12"/>
                      <a:pt x="274" y="13"/>
                    </a:cubicBezTo>
                    <a:cubicBezTo>
                      <a:pt x="271" y="13"/>
                      <a:pt x="269" y="16"/>
                      <a:pt x="267" y="15"/>
                    </a:cubicBezTo>
                    <a:cubicBezTo>
                      <a:pt x="257" y="12"/>
                      <a:pt x="265" y="1"/>
                      <a:pt x="251" y="0"/>
                    </a:cubicBezTo>
                    <a:cubicBezTo>
                      <a:pt x="245" y="0"/>
                      <a:pt x="242" y="8"/>
                      <a:pt x="236" y="9"/>
                    </a:cubicBezTo>
                    <a:cubicBezTo>
                      <a:pt x="233" y="9"/>
                      <a:pt x="229" y="9"/>
                      <a:pt x="225" y="8"/>
                    </a:cubicBezTo>
                    <a:cubicBezTo>
                      <a:pt x="218" y="6"/>
                      <a:pt x="211" y="4"/>
                      <a:pt x="206" y="11"/>
                    </a:cubicBezTo>
                    <a:cubicBezTo>
                      <a:pt x="202" y="16"/>
                      <a:pt x="205" y="31"/>
                      <a:pt x="198" y="34"/>
                    </a:cubicBezTo>
                    <a:cubicBezTo>
                      <a:pt x="197" y="34"/>
                      <a:pt x="196" y="34"/>
                      <a:pt x="195" y="33"/>
                    </a:cubicBezTo>
                    <a:cubicBezTo>
                      <a:pt x="193" y="33"/>
                      <a:pt x="192" y="33"/>
                      <a:pt x="190" y="33"/>
                    </a:cubicBezTo>
                    <a:cubicBezTo>
                      <a:pt x="181" y="39"/>
                      <a:pt x="194" y="43"/>
                      <a:pt x="180" y="45"/>
                    </a:cubicBezTo>
                    <a:cubicBezTo>
                      <a:pt x="178" y="45"/>
                      <a:pt x="176" y="44"/>
                      <a:pt x="173" y="42"/>
                    </a:cubicBezTo>
                    <a:cubicBezTo>
                      <a:pt x="169" y="39"/>
                      <a:pt x="164" y="36"/>
                      <a:pt x="161" y="41"/>
                    </a:cubicBezTo>
                    <a:cubicBezTo>
                      <a:pt x="159" y="44"/>
                      <a:pt x="162" y="49"/>
                      <a:pt x="160" y="51"/>
                    </a:cubicBezTo>
                    <a:cubicBezTo>
                      <a:pt x="154" y="58"/>
                      <a:pt x="136" y="54"/>
                      <a:pt x="128" y="59"/>
                    </a:cubicBezTo>
                    <a:cubicBezTo>
                      <a:pt x="121" y="64"/>
                      <a:pt x="129" y="72"/>
                      <a:pt x="131" y="75"/>
                    </a:cubicBezTo>
                    <a:cubicBezTo>
                      <a:pt x="133" y="79"/>
                      <a:pt x="85" y="87"/>
                      <a:pt x="78" y="86"/>
                    </a:cubicBezTo>
                    <a:cubicBezTo>
                      <a:pt x="68" y="84"/>
                      <a:pt x="60" y="69"/>
                      <a:pt x="49" y="68"/>
                    </a:cubicBezTo>
                    <a:cubicBezTo>
                      <a:pt x="47" y="68"/>
                      <a:pt x="46" y="68"/>
                      <a:pt x="44" y="69"/>
                    </a:cubicBezTo>
                    <a:cubicBezTo>
                      <a:pt x="36" y="72"/>
                      <a:pt x="44" y="90"/>
                      <a:pt x="44" y="93"/>
                    </a:cubicBezTo>
                    <a:cubicBezTo>
                      <a:pt x="42" y="96"/>
                      <a:pt x="36" y="95"/>
                      <a:pt x="30" y="94"/>
                    </a:cubicBezTo>
                    <a:cubicBezTo>
                      <a:pt x="23" y="94"/>
                      <a:pt x="16" y="93"/>
                      <a:pt x="12" y="97"/>
                    </a:cubicBezTo>
                    <a:cubicBezTo>
                      <a:pt x="9" y="99"/>
                      <a:pt x="26" y="98"/>
                      <a:pt x="26" y="108"/>
                    </a:cubicBezTo>
                    <a:cubicBezTo>
                      <a:pt x="27" y="119"/>
                      <a:pt x="18" y="111"/>
                      <a:pt x="14" y="119"/>
                    </a:cubicBezTo>
                    <a:cubicBezTo>
                      <a:pt x="11" y="124"/>
                      <a:pt x="21" y="136"/>
                      <a:pt x="20" y="138"/>
                    </a:cubicBezTo>
                    <a:cubicBezTo>
                      <a:pt x="15" y="147"/>
                      <a:pt x="10" y="149"/>
                      <a:pt x="0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1" y="160"/>
                      <a:pt x="1" y="159"/>
                      <a:pt x="3" y="159"/>
                    </a:cubicBezTo>
                    <a:cubicBezTo>
                      <a:pt x="9" y="159"/>
                      <a:pt x="9" y="159"/>
                      <a:pt x="9" y="159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8" name="Lithuania"/>
              <p:cNvSpPr>
                <a:spLocks noEditPoints="1"/>
              </p:cNvSpPr>
              <p:nvPr/>
            </p:nvSpPr>
            <p:spPr bwMode="auto">
              <a:xfrm>
                <a:off x="5848042" y="3714692"/>
                <a:ext cx="420596" cy="359993"/>
              </a:xfrm>
              <a:custGeom>
                <a:avLst/>
                <a:gdLst>
                  <a:gd name="T0" fmla="*/ 98 w 252"/>
                  <a:gd name="T1" fmla="*/ 167 h 200"/>
                  <a:gd name="T2" fmla="*/ 128 w 252"/>
                  <a:gd name="T3" fmla="*/ 183 h 200"/>
                  <a:gd name="T4" fmla="*/ 160 w 252"/>
                  <a:gd name="T5" fmla="*/ 189 h 200"/>
                  <a:gd name="T6" fmla="*/ 179 w 252"/>
                  <a:gd name="T7" fmla="*/ 183 h 200"/>
                  <a:gd name="T8" fmla="*/ 185 w 252"/>
                  <a:gd name="T9" fmla="*/ 172 h 200"/>
                  <a:gd name="T10" fmla="*/ 200 w 252"/>
                  <a:gd name="T11" fmla="*/ 158 h 200"/>
                  <a:gd name="T12" fmla="*/ 214 w 252"/>
                  <a:gd name="T13" fmla="*/ 161 h 200"/>
                  <a:gd name="T14" fmla="*/ 213 w 252"/>
                  <a:gd name="T15" fmla="*/ 148 h 200"/>
                  <a:gd name="T16" fmla="*/ 213 w 252"/>
                  <a:gd name="T17" fmla="*/ 114 h 200"/>
                  <a:gd name="T18" fmla="*/ 228 w 252"/>
                  <a:gd name="T19" fmla="*/ 96 h 200"/>
                  <a:gd name="T20" fmla="*/ 245 w 252"/>
                  <a:gd name="T21" fmla="*/ 81 h 200"/>
                  <a:gd name="T22" fmla="*/ 250 w 252"/>
                  <a:gd name="T23" fmla="*/ 69 h 200"/>
                  <a:gd name="T24" fmla="*/ 235 w 252"/>
                  <a:gd name="T25" fmla="*/ 42 h 200"/>
                  <a:gd name="T26" fmla="*/ 230 w 252"/>
                  <a:gd name="T27" fmla="*/ 42 h 200"/>
                  <a:gd name="T28" fmla="*/ 167 w 252"/>
                  <a:gd name="T29" fmla="*/ 18 h 200"/>
                  <a:gd name="T30" fmla="*/ 141 w 252"/>
                  <a:gd name="T31" fmla="*/ 16 h 200"/>
                  <a:gd name="T32" fmla="*/ 125 w 252"/>
                  <a:gd name="T33" fmla="*/ 21 h 200"/>
                  <a:gd name="T34" fmla="*/ 98 w 252"/>
                  <a:gd name="T35" fmla="*/ 21 h 200"/>
                  <a:gd name="T36" fmla="*/ 82 w 252"/>
                  <a:gd name="T37" fmla="*/ 27 h 200"/>
                  <a:gd name="T38" fmla="*/ 67 w 252"/>
                  <a:gd name="T39" fmla="*/ 25 h 200"/>
                  <a:gd name="T40" fmla="*/ 12 w 252"/>
                  <a:gd name="T41" fmla="*/ 45 h 200"/>
                  <a:gd name="T42" fmla="*/ 2 w 252"/>
                  <a:gd name="T43" fmla="*/ 58 h 200"/>
                  <a:gd name="T44" fmla="*/ 6 w 252"/>
                  <a:gd name="T45" fmla="*/ 80 h 200"/>
                  <a:gd name="T46" fmla="*/ 11 w 252"/>
                  <a:gd name="T47" fmla="*/ 89 h 200"/>
                  <a:gd name="T48" fmla="*/ 16 w 252"/>
                  <a:gd name="T49" fmla="*/ 112 h 200"/>
                  <a:gd name="T50" fmla="*/ 21 w 252"/>
                  <a:gd name="T51" fmla="*/ 115 h 200"/>
                  <a:gd name="T52" fmla="*/ 25 w 252"/>
                  <a:gd name="T53" fmla="*/ 114 h 200"/>
                  <a:gd name="T54" fmla="*/ 54 w 252"/>
                  <a:gd name="T55" fmla="*/ 124 h 200"/>
                  <a:gd name="T56" fmla="*/ 79 w 252"/>
                  <a:gd name="T57" fmla="*/ 121 h 200"/>
                  <a:gd name="T58" fmla="*/ 85 w 252"/>
                  <a:gd name="T59" fmla="*/ 128 h 200"/>
                  <a:gd name="T60" fmla="*/ 96 w 252"/>
                  <a:gd name="T61" fmla="*/ 171 h 200"/>
                  <a:gd name="T62" fmla="*/ 7 w 252"/>
                  <a:gd name="T63" fmla="*/ 84 h 200"/>
                  <a:gd name="T64" fmla="*/ 7 w 252"/>
                  <a:gd name="T65" fmla="*/ 116 h 200"/>
                  <a:gd name="T66" fmla="*/ 11 w 252"/>
                  <a:gd name="T67" fmla="*/ 105 h 200"/>
                  <a:gd name="T68" fmla="*/ 8 w 252"/>
                  <a:gd name="T69" fmla="*/ 83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52" h="200">
                    <a:moveTo>
                      <a:pt x="96" y="171"/>
                    </a:moveTo>
                    <a:cubicBezTo>
                      <a:pt x="97" y="170"/>
                      <a:pt x="97" y="167"/>
                      <a:pt x="98" y="167"/>
                    </a:cubicBezTo>
                    <a:cubicBezTo>
                      <a:pt x="107" y="164"/>
                      <a:pt x="103" y="171"/>
                      <a:pt x="109" y="174"/>
                    </a:cubicBezTo>
                    <a:cubicBezTo>
                      <a:pt x="124" y="180"/>
                      <a:pt x="118" y="168"/>
                      <a:pt x="128" y="183"/>
                    </a:cubicBezTo>
                    <a:cubicBezTo>
                      <a:pt x="132" y="187"/>
                      <a:pt x="128" y="193"/>
                      <a:pt x="132" y="196"/>
                    </a:cubicBezTo>
                    <a:cubicBezTo>
                      <a:pt x="139" y="200"/>
                      <a:pt x="155" y="191"/>
                      <a:pt x="160" y="189"/>
                    </a:cubicBezTo>
                    <a:cubicBezTo>
                      <a:pt x="164" y="187"/>
                      <a:pt x="166" y="197"/>
                      <a:pt x="171" y="193"/>
                    </a:cubicBezTo>
                    <a:cubicBezTo>
                      <a:pt x="175" y="190"/>
                      <a:pt x="175" y="185"/>
                      <a:pt x="179" y="183"/>
                    </a:cubicBezTo>
                    <a:cubicBezTo>
                      <a:pt x="182" y="181"/>
                      <a:pt x="185" y="183"/>
                      <a:pt x="188" y="182"/>
                    </a:cubicBezTo>
                    <a:cubicBezTo>
                      <a:pt x="191" y="181"/>
                      <a:pt x="183" y="175"/>
                      <a:pt x="185" y="172"/>
                    </a:cubicBezTo>
                    <a:cubicBezTo>
                      <a:pt x="188" y="169"/>
                      <a:pt x="193" y="170"/>
                      <a:pt x="197" y="168"/>
                    </a:cubicBezTo>
                    <a:cubicBezTo>
                      <a:pt x="206" y="163"/>
                      <a:pt x="194" y="164"/>
                      <a:pt x="200" y="158"/>
                    </a:cubicBezTo>
                    <a:cubicBezTo>
                      <a:pt x="202" y="155"/>
                      <a:pt x="215" y="149"/>
                      <a:pt x="216" y="157"/>
                    </a:cubicBezTo>
                    <a:cubicBezTo>
                      <a:pt x="217" y="158"/>
                      <a:pt x="214" y="159"/>
                      <a:pt x="214" y="161"/>
                    </a:cubicBezTo>
                    <a:cubicBezTo>
                      <a:pt x="213" y="166"/>
                      <a:pt x="225" y="162"/>
                      <a:pt x="226" y="159"/>
                    </a:cubicBezTo>
                    <a:cubicBezTo>
                      <a:pt x="231" y="147"/>
                      <a:pt x="213" y="150"/>
                      <a:pt x="213" y="148"/>
                    </a:cubicBezTo>
                    <a:cubicBezTo>
                      <a:pt x="213" y="146"/>
                      <a:pt x="218" y="130"/>
                      <a:pt x="218" y="129"/>
                    </a:cubicBezTo>
                    <a:cubicBezTo>
                      <a:pt x="213" y="114"/>
                      <a:pt x="213" y="114"/>
                      <a:pt x="213" y="114"/>
                    </a:cubicBezTo>
                    <a:cubicBezTo>
                      <a:pt x="213" y="113"/>
                      <a:pt x="216" y="113"/>
                      <a:pt x="216" y="112"/>
                    </a:cubicBezTo>
                    <a:cubicBezTo>
                      <a:pt x="222" y="91"/>
                      <a:pt x="217" y="113"/>
                      <a:pt x="228" y="96"/>
                    </a:cubicBezTo>
                    <a:cubicBezTo>
                      <a:pt x="231" y="93"/>
                      <a:pt x="228" y="87"/>
                      <a:pt x="230" y="83"/>
                    </a:cubicBezTo>
                    <a:cubicBezTo>
                      <a:pt x="233" y="79"/>
                      <a:pt x="242" y="85"/>
                      <a:pt x="245" y="81"/>
                    </a:cubicBezTo>
                    <a:cubicBezTo>
                      <a:pt x="247" y="78"/>
                      <a:pt x="244" y="75"/>
                      <a:pt x="245" y="73"/>
                    </a:cubicBezTo>
                    <a:cubicBezTo>
                      <a:pt x="246" y="71"/>
                      <a:pt x="249" y="71"/>
                      <a:pt x="250" y="69"/>
                    </a:cubicBezTo>
                    <a:cubicBezTo>
                      <a:pt x="252" y="61"/>
                      <a:pt x="233" y="72"/>
                      <a:pt x="234" y="67"/>
                    </a:cubicBezTo>
                    <a:cubicBezTo>
                      <a:pt x="234" y="58"/>
                      <a:pt x="238" y="51"/>
                      <a:pt x="235" y="42"/>
                    </a:cubicBezTo>
                    <a:cubicBezTo>
                      <a:pt x="235" y="42"/>
                      <a:pt x="235" y="42"/>
                      <a:pt x="235" y="42"/>
                    </a:cubicBezTo>
                    <a:cubicBezTo>
                      <a:pt x="233" y="42"/>
                      <a:pt x="231" y="42"/>
                      <a:pt x="230" y="42"/>
                    </a:cubicBezTo>
                    <a:cubicBezTo>
                      <a:pt x="217" y="40"/>
                      <a:pt x="200" y="19"/>
                      <a:pt x="189" y="16"/>
                    </a:cubicBezTo>
                    <a:cubicBezTo>
                      <a:pt x="182" y="14"/>
                      <a:pt x="174" y="18"/>
                      <a:pt x="167" y="18"/>
                    </a:cubicBezTo>
                    <a:cubicBezTo>
                      <a:pt x="160" y="18"/>
                      <a:pt x="157" y="0"/>
                      <a:pt x="152" y="2"/>
                    </a:cubicBezTo>
                    <a:cubicBezTo>
                      <a:pt x="145" y="3"/>
                      <a:pt x="145" y="12"/>
                      <a:pt x="141" y="16"/>
                    </a:cubicBezTo>
                    <a:cubicBezTo>
                      <a:pt x="137" y="23"/>
                      <a:pt x="137" y="15"/>
                      <a:pt x="132" y="16"/>
                    </a:cubicBezTo>
                    <a:cubicBezTo>
                      <a:pt x="129" y="16"/>
                      <a:pt x="128" y="20"/>
                      <a:pt x="125" y="21"/>
                    </a:cubicBezTo>
                    <a:cubicBezTo>
                      <a:pt x="124" y="21"/>
                      <a:pt x="107" y="17"/>
                      <a:pt x="107" y="17"/>
                    </a:cubicBezTo>
                    <a:cubicBezTo>
                      <a:pt x="104" y="17"/>
                      <a:pt x="102" y="21"/>
                      <a:pt x="98" y="21"/>
                    </a:cubicBezTo>
                    <a:cubicBezTo>
                      <a:pt x="92" y="22"/>
                      <a:pt x="90" y="16"/>
                      <a:pt x="85" y="21"/>
                    </a:cubicBezTo>
                    <a:cubicBezTo>
                      <a:pt x="83" y="23"/>
                      <a:pt x="84" y="26"/>
                      <a:pt x="82" y="27"/>
                    </a:cubicBezTo>
                    <a:cubicBezTo>
                      <a:pt x="80" y="30"/>
                      <a:pt x="77" y="20"/>
                      <a:pt x="74" y="20"/>
                    </a:cubicBezTo>
                    <a:cubicBezTo>
                      <a:pt x="71" y="20"/>
                      <a:pt x="70" y="24"/>
                      <a:pt x="67" y="25"/>
                    </a:cubicBezTo>
                    <a:cubicBezTo>
                      <a:pt x="63" y="26"/>
                      <a:pt x="45" y="25"/>
                      <a:pt x="41" y="26"/>
                    </a:cubicBezTo>
                    <a:cubicBezTo>
                      <a:pt x="34" y="28"/>
                      <a:pt x="16" y="39"/>
                      <a:pt x="12" y="45"/>
                    </a:cubicBezTo>
                    <a:cubicBezTo>
                      <a:pt x="10" y="48"/>
                      <a:pt x="10" y="53"/>
                      <a:pt x="8" y="56"/>
                    </a:cubicBezTo>
                    <a:cubicBezTo>
                      <a:pt x="6" y="58"/>
                      <a:pt x="4" y="58"/>
                      <a:pt x="2" y="58"/>
                    </a:cubicBezTo>
                    <a:cubicBezTo>
                      <a:pt x="2" y="59"/>
                      <a:pt x="2" y="59"/>
                      <a:pt x="3" y="60"/>
                    </a:cubicBezTo>
                    <a:cubicBezTo>
                      <a:pt x="7" y="74"/>
                      <a:pt x="0" y="65"/>
                      <a:pt x="6" y="80"/>
                    </a:cubicBezTo>
                    <a:cubicBezTo>
                      <a:pt x="6" y="81"/>
                      <a:pt x="7" y="82"/>
                      <a:pt x="8" y="83"/>
                    </a:cubicBezTo>
                    <a:cubicBezTo>
                      <a:pt x="9" y="85"/>
                      <a:pt x="10" y="87"/>
                      <a:pt x="11" y="89"/>
                    </a:cubicBezTo>
                    <a:cubicBezTo>
                      <a:pt x="14" y="93"/>
                      <a:pt x="16" y="97"/>
                      <a:pt x="17" y="102"/>
                    </a:cubicBezTo>
                    <a:cubicBezTo>
                      <a:pt x="18" y="105"/>
                      <a:pt x="15" y="108"/>
                      <a:pt x="16" y="112"/>
                    </a:cubicBezTo>
                    <a:cubicBezTo>
                      <a:pt x="16" y="113"/>
                      <a:pt x="17" y="109"/>
                      <a:pt x="18" y="109"/>
                    </a:cubicBezTo>
                    <a:cubicBezTo>
                      <a:pt x="20" y="108"/>
                      <a:pt x="20" y="113"/>
                      <a:pt x="21" y="115"/>
                    </a:cubicBezTo>
                    <a:cubicBezTo>
                      <a:pt x="21" y="116"/>
                      <a:pt x="21" y="116"/>
                      <a:pt x="21" y="117"/>
                    </a:cubicBezTo>
                    <a:cubicBezTo>
                      <a:pt x="23" y="116"/>
                      <a:pt x="23" y="114"/>
                      <a:pt x="25" y="114"/>
                    </a:cubicBezTo>
                    <a:cubicBezTo>
                      <a:pt x="27" y="115"/>
                      <a:pt x="27" y="117"/>
                      <a:pt x="28" y="119"/>
                    </a:cubicBezTo>
                    <a:cubicBezTo>
                      <a:pt x="35" y="123"/>
                      <a:pt x="46" y="122"/>
                      <a:pt x="54" y="124"/>
                    </a:cubicBezTo>
                    <a:cubicBezTo>
                      <a:pt x="55" y="125"/>
                      <a:pt x="53" y="127"/>
                      <a:pt x="54" y="127"/>
                    </a:cubicBezTo>
                    <a:cubicBezTo>
                      <a:pt x="63" y="127"/>
                      <a:pt x="71" y="119"/>
                      <a:pt x="79" y="121"/>
                    </a:cubicBezTo>
                    <a:cubicBezTo>
                      <a:pt x="81" y="122"/>
                      <a:pt x="80" y="127"/>
                      <a:pt x="82" y="128"/>
                    </a:cubicBezTo>
                    <a:cubicBezTo>
                      <a:pt x="83" y="129"/>
                      <a:pt x="84" y="127"/>
                      <a:pt x="85" y="128"/>
                    </a:cubicBezTo>
                    <a:cubicBezTo>
                      <a:pt x="88" y="129"/>
                      <a:pt x="90" y="131"/>
                      <a:pt x="92" y="133"/>
                    </a:cubicBezTo>
                    <a:cubicBezTo>
                      <a:pt x="95" y="138"/>
                      <a:pt x="83" y="154"/>
                      <a:pt x="96" y="171"/>
                    </a:cubicBezTo>
                    <a:close/>
                    <a:moveTo>
                      <a:pt x="8" y="83"/>
                    </a:moveTo>
                    <a:cubicBezTo>
                      <a:pt x="7" y="84"/>
                      <a:pt x="7" y="84"/>
                      <a:pt x="7" y="84"/>
                    </a:cubicBezTo>
                    <a:cubicBezTo>
                      <a:pt x="6" y="89"/>
                      <a:pt x="10" y="93"/>
                      <a:pt x="10" y="98"/>
                    </a:cubicBezTo>
                    <a:cubicBezTo>
                      <a:pt x="11" y="103"/>
                      <a:pt x="10" y="110"/>
                      <a:pt x="7" y="116"/>
                    </a:cubicBezTo>
                    <a:cubicBezTo>
                      <a:pt x="8" y="116"/>
                      <a:pt x="8" y="116"/>
                      <a:pt x="8" y="116"/>
                    </a:cubicBezTo>
                    <a:cubicBezTo>
                      <a:pt x="10" y="113"/>
                      <a:pt x="10" y="110"/>
                      <a:pt x="11" y="105"/>
                    </a:cubicBezTo>
                    <a:cubicBezTo>
                      <a:pt x="11" y="103"/>
                      <a:pt x="11" y="95"/>
                      <a:pt x="11" y="89"/>
                    </a:cubicBezTo>
                    <a:cubicBezTo>
                      <a:pt x="11" y="81"/>
                      <a:pt x="11" y="76"/>
                      <a:pt x="8" y="83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09" name="Latvia"/>
              <p:cNvSpPr>
                <a:spLocks/>
              </p:cNvSpPr>
              <p:nvPr/>
            </p:nvSpPr>
            <p:spPr bwMode="auto">
              <a:xfrm>
                <a:off x="5830270" y="3498059"/>
                <a:ext cx="507973" cy="321763"/>
              </a:xfrm>
              <a:custGeom>
                <a:avLst/>
                <a:gdLst>
                  <a:gd name="T0" fmla="*/ 13 w 304"/>
                  <a:gd name="T1" fmla="*/ 179 h 179"/>
                  <a:gd name="T2" fmla="*/ 19 w 304"/>
                  <a:gd name="T3" fmla="*/ 177 h 179"/>
                  <a:gd name="T4" fmla="*/ 23 w 304"/>
                  <a:gd name="T5" fmla="*/ 166 h 179"/>
                  <a:gd name="T6" fmla="*/ 52 w 304"/>
                  <a:gd name="T7" fmla="*/ 147 h 179"/>
                  <a:gd name="T8" fmla="*/ 78 w 304"/>
                  <a:gd name="T9" fmla="*/ 146 h 179"/>
                  <a:gd name="T10" fmla="*/ 85 w 304"/>
                  <a:gd name="T11" fmla="*/ 141 h 179"/>
                  <a:gd name="T12" fmla="*/ 93 w 304"/>
                  <a:gd name="T13" fmla="*/ 148 h 179"/>
                  <a:gd name="T14" fmla="*/ 96 w 304"/>
                  <a:gd name="T15" fmla="*/ 142 h 179"/>
                  <a:gd name="T16" fmla="*/ 109 w 304"/>
                  <a:gd name="T17" fmla="*/ 142 h 179"/>
                  <a:gd name="T18" fmla="*/ 118 w 304"/>
                  <a:gd name="T19" fmla="*/ 138 h 179"/>
                  <a:gd name="T20" fmla="*/ 136 w 304"/>
                  <a:gd name="T21" fmla="*/ 142 h 179"/>
                  <a:gd name="T22" fmla="*/ 143 w 304"/>
                  <a:gd name="T23" fmla="*/ 137 h 179"/>
                  <a:gd name="T24" fmla="*/ 152 w 304"/>
                  <a:gd name="T25" fmla="*/ 137 h 179"/>
                  <a:gd name="T26" fmla="*/ 163 w 304"/>
                  <a:gd name="T27" fmla="*/ 123 h 179"/>
                  <a:gd name="T28" fmla="*/ 178 w 304"/>
                  <a:gd name="T29" fmla="*/ 139 h 179"/>
                  <a:gd name="T30" fmla="*/ 200 w 304"/>
                  <a:gd name="T31" fmla="*/ 137 h 179"/>
                  <a:gd name="T32" fmla="*/ 241 w 304"/>
                  <a:gd name="T33" fmla="*/ 163 h 179"/>
                  <a:gd name="T34" fmla="*/ 264 w 304"/>
                  <a:gd name="T35" fmla="*/ 145 h 179"/>
                  <a:gd name="T36" fmla="*/ 271 w 304"/>
                  <a:gd name="T37" fmla="*/ 148 h 179"/>
                  <a:gd name="T38" fmla="*/ 272 w 304"/>
                  <a:gd name="T39" fmla="*/ 143 h 179"/>
                  <a:gd name="T40" fmla="*/ 283 w 304"/>
                  <a:gd name="T41" fmla="*/ 143 h 179"/>
                  <a:gd name="T42" fmla="*/ 287 w 304"/>
                  <a:gd name="T43" fmla="*/ 125 h 179"/>
                  <a:gd name="T44" fmla="*/ 299 w 304"/>
                  <a:gd name="T45" fmla="*/ 112 h 179"/>
                  <a:gd name="T46" fmla="*/ 277 w 304"/>
                  <a:gd name="T47" fmla="*/ 73 h 179"/>
                  <a:gd name="T48" fmla="*/ 274 w 304"/>
                  <a:gd name="T49" fmla="*/ 64 h 179"/>
                  <a:gd name="T50" fmla="*/ 266 w 304"/>
                  <a:gd name="T51" fmla="*/ 67 h 179"/>
                  <a:gd name="T52" fmla="*/ 266 w 304"/>
                  <a:gd name="T53" fmla="*/ 64 h 179"/>
                  <a:gd name="T54" fmla="*/ 266 w 304"/>
                  <a:gd name="T55" fmla="*/ 62 h 179"/>
                  <a:gd name="T56" fmla="*/ 267 w 304"/>
                  <a:gd name="T57" fmla="*/ 50 h 179"/>
                  <a:gd name="T58" fmla="*/ 262 w 304"/>
                  <a:gd name="T59" fmla="*/ 47 h 179"/>
                  <a:gd name="T60" fmla="*/ 257 w 304"/>
                  <a:gd name="T61" fmla="*/ 29 h 179"/>
                  <a:gd name="T62" fmla="*/ 250 w 304"/>
                  <a:gd name="T63" fmla="*/ 26 h 179"/>
                  <a:gd name="T64" fmla="*/ 249 w 304"/>
                  <a:gd name="T65" fmla="*/ 19 h 179"/>
                  <a:gd name="T66" fmla="*/ 241 w 304"/>
                  <a:gd name="T67" fmla="*/ 21 h 179"/>
                  <a:gd name="T68" fmla="*/ 221 w 304"/>
                  <a:gd name="T69" fmla="*/ 18 h 179"/>
                  <a:gd name="T70" fmla="*/ 210 w 304"/>
                  <a:gd name="T71" fmla="*/ 30 h 179"/>
                  <a:gd name="T72" fmla="*/ 186 w 304"/>
                  <a:gd name="T73" fmla="*/ 15 h 179"/>
                  <a:gd name="T74" fmla="*/ 185 w 304"/>
                  <a:gd name="T75" fmla="*/ 10 h 179"/>
                  <a:gd name="T76" fmla="*/ 175 w 304"/>
                  <a:gd name="T77" fmla="*/ 11 h 179"/>
                  <a:gd name="T78" fmla="*/ 172 w 304"/>
                  <a:gd name="T79" fmla="*/ 7 h 179"/>
                  <a:gd name="T80" fmla="*/ 167 w 304"/>
                  <a:gd name="T81" fmla="*/ 9 h 179"/>
                  <a:gd name="T82" fmla="*/ 152 w 304"/>
                  <a:gd name="T83" fmla="*/ 0 h 179"/>
                  <a:gd name="T84" fmla="*/ 152 w 304"/>
                  <a:gd name="T85" fmla="*/ 3 h 179"/>
                  <a:gd name="T86" fmla="*/ 153 w 304"/>
                  <a:gd name="T87" fmla="*/ 4 h 179"/>
                  <a:gd name="T88" fmla="*/ 145 w 304"/>
                  <a:gd name="T89" fmla="*/ 3 h 179"/>
                  <a:gd name="T90" fmla="*/ 118 w 304"/>
                  <a:gd name="T91" fmla="*/ 24 h 179"/>
                  <a:gd name="T92" fmla="*/ 117 w 304"/>
                  <a:gd name="T93" fmla="*/ 23 h 179"/>
                  <a:gd name="T94" fmla="*/ 117 w 304"/>
                  <a:gd name="T95" fmla="*/ 28 h 179"/>
                  <a:gd name="T96" fmla="*/ 131 w 304"/>
                  <a:gd name="T97" fmla="*/ 69 h 179"/>
                  <a:gd name="T98" fmla="*/ 107 w 304"/>
                  <a:gd name="T99" fmla="*/ 95 h 179"/>
                  <a:gd name="T100" fmla="*/ 99 w 304"/>
                  <a:gd name="T101" fmla="*/ 91 h 179"/>
                  <a:gd name="T102" fmla="*/ 88 w 304"/>
                  <a:gd name="T103" fmla="*/ 88 h 179"/>
                  <a:gd name="T104" fmla="*/ 79 w 304"/>
                  <a:gd name="T105" fmla="*/ 70 h 179"/>
                  <a:gd name="T106" fmla="*/ 57 w 304"/>
                  <a:gd name="T107" fmla="*/ 57 h 179"/>
                  <a:gd name="T108" fmla="*/ 53 w 304"/>
                  <a:gd name="T109" fmla="*/ 46 h 179"/>
                  <a:gd name="T110" fmla="*/ 40 w 304"/>
                  <a:gd name="T111" fmla="*/ 54 h 179"/>
                  <a:gd name="T112" fmla="*/ 21 w 304"/>
                  <a:gd name="T113" fmla="*/ 65 h 179"/>
                  <a:gd name="T114" fmla="*/ 14 w 304"/>
                  <a:gd name="T115" fmla="*/ 110 h 179"/>
                  <a:gd name="T116" fmla="*/ 4 w 304"/>
                  <a:gd name="T117" fmla="*/ 124 h 179"/>
                  <a:gd name="T118" fmla="*/ 5 w 304"/>
                  <a:gd name="T119" fmla="*/ 134 h 179"/>
                  <a:gd name="T120" fmla="*/ 5 w 304"/>
                  <a:gd name="T121" fmla="*/ 146 h 179"/>
                  <a:gd name="T122" fmla="*/ 6 w 304"/>
                  <a:gd name="T123" fmla="*/ 147 h 179"/>
                  <a:gd name="T124" fmla="*/ 13 w 304"/>
                  <a:gd name="T12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4" h="179">
                    <a:moveTo>
                      <a:pt x="13" y="179"/>
                    </a:moveTo>
                    <a:cubicBezTo>
                      <a:pt x="15" y="179"/>
                      <a:pt x="17" y="179"/>
                      <a:pt x="19" y="177"/>
                    </a:cubicBezTo>
                    <a:cubicBezTo>
                      <a:pt x="21" y="174"/>
                      <a:pt x="21" y="169"/>
                      <a:pt x="23" y="166"/>
                    </a:cubicBezTo>
                    <a:cubicBezTo>
                      <a:pt x="27" y="160"/>
                      <a:pt x="45" y="149"/>
                      <a:pt x="52" y="147"/>
                    </a:cubicBezTo>
                    <a:cubicBezTo>
                      <a:pt x="56" y="146"/>
                      <a:pt x="74" y="147"/>
                      <a:pt x="78" y="146"/>
                    </a:cubicBezTo>
                    <a:cubicBezTo>
                      <a:pt x="81" y="145"/>
                      <a:pt x="82" y="141"/>
                      <a:pt x="85" y="141"/>
                    </a:cubicBezTo>
                    <a:cubicBezTo>
                      <a:pt x="88" y="141"/>
                      <a:pt x="91" y="151"/>
                      <a:pt x="93" y="148"/>
                    </a:cubicBezTo>
                    <a:cubicBezTo>
                      <a:pt x="95" y="147"/>
                      <a:pt x="94" y="144"/>
                      <a:pt x="96" y="142"/>
                    </a:cubicBezTo>
                    <a:cubicBezTo>
                      <a:pt x="101" y="137"/>
                      <a:pt x="103" y="143"/>
                      <a:pt x="109" y="142"/>
                    </a:cubicBezTo>
                    <a:cubicBezTo>
                      <a:pt x="113" y="142"/>
                      <a:pt x="115" y="138"/>
                      <a:pt x="118" y="138"/>
                    </a:cubicBezTo>
                    <a:cubicBezTo>
                      <a:pt x="118" y="138"/>
                      <a:pt x="135" y="142"/>
                      <a:pt x="136" y="142"/>
                    </a:cubicBezTo>
                    <a:cubicBezTo>
                      <a:pt x="139" y="141"/>
                      <a:pt x="140" y="137"/>
                      <a:pt x="143" y="137"/>
                    </a:cubicBezTo>
                    <a:cubicBezTo>
                      <a:pt x="148" y="136"/>
                      <a:pt x="148" y="144"/>
                      <a:pt x="152" y="137"/>
                    </a:cubicBezTo>
                    <a:cubicBezTo>
                      <a:pt x="156" y="133"/>
                      <a:pt x="156" y="124"/>
                      <a:pt x="163" y="123"/>
                    </a:cubicBezTo>
                    <a:cubicBezTo>
                      <a:pt x="168" y="121"/>
                      <a:pt x="171" y="139"/>
                      <a:pt x="178" y="139"/>
                    </a:cubicBezTo>
                    <a:cubicBezTo>
                      <a:pt x="185" y="139"/>
                      <a:pt x="193" y="135"/>
                      <a:pt x="200" y="137"/>
                    </a:cubicBezTo>
                    <a:cubicBezTo>
                      <a:pt x="211" y="140"/>
                      <a:pt x="228" y="161"/>
                      <a:pt x="241" y="163"/>
                    </a:cubicBezTo>
                    <a:cubicBezTo>
                      <a:pt x="255" y="166"/>
                      <a:pt x="255" y="144"/>
                      <a:pt x="264" y="145"/>
                    </a:cubicBezTo>
                    <a:cubicBezTo>
                      <a:pt x="267" y="145"/>
                      <a:pt x="268" y="148"/>
                      <a:pt x="271" y="148"/>
                    </a:cubicBezTo>
                    <a:cubicBezTo>
                      <a:pt x="272" y="148"/>
                      <a:pt x="271" y="144"/>
                      <a:pt x="272" y="143"/>
                    </a:cubicBezTo>
                    <a:cubicBezTo>
                      <a:pt x="276" y="142"/>
                      <a:pt x="280" y="146"/>
                      <a:pt x="283" y="143"/>
                    </a:cubicBezTo>
                    <a:cubicBezTo>
                      <a:pt x="283" y="143"/>
                      <a:pt x="286" y="126"/>
                      <a:pt x="287" y="125"/>
                    </a:cubicBezTo>
                    <a:cubicBezTo>
                      <a:pt x="288" y="121"/>
                      <a:pt x="299" y="113"/>
                      <a:pt x="299" y="112"/>
                    </a:cubicBezTo>
                    <a:cubicBezTo>
                      <a:pt x="304" y="96"/>
                      <a:pt x="287" y="81"/>
                      <a:pt x="277" y="73"/>
                    </a:cubicBezTo>
                    <a:cubicBezTo>
                      <a:pt x="274" y="70"/>
                      <a:pt x="281" y="65"/>
                      <a:pt x="274" y="64"/>
                    </a:cubicBezTo>
                    <a:cubicBezTo>
                      <a:pt x="271" y="63"/>
                      <a:pt x="268" y="68"/>
                      <a:pt x="266" y="67"/>
                    </a:cubicBezTo>
                    <a:cubicBezTo>
                      <a:pt x="264" y="67"/>
                      <a:pt x="266" y="65"/>
                      <a:pt x="266" y="64"/>
                    </a:cubicBezTo>
                    <a:cubicBezTo>
                      <a:pt x="266" y="64"/>
                      <a:pt x="266" y="63"/>
                      <a:pt x="266" y="62"/>
                    </a:cubicBezTo>
                    <a:cubicBezTo>
                      <a:pt x="266" y="58"/>
                      <a:pt x="267" y="54"/>
                      <a:pt x="267" y="50"/>
                    </a:cubicBezTo>
                    <a:cubicBezTo>
                      <a:pt x="266" y="48"/>
                      <a:pt x="262" y="49"/>
                      <a:pt x="262" y="47"/>
                    </a:cubicBezTo>
                    <a:cubicBezTo>
                      <a:pt x="262" y="40"/>
                      <a:pt x="276" y="35"/>
                      <a:pt x="257" y="29"/>
                    </a:cubicBezTo>
                    <a:cubicBezTo>
                      <a:pt x="255" y="28"/>
                      <a:pt x="251" y="28"/>
                      <a:pt x="250" y="26"/>
                    </a:cubicBezTo>
                    <a:cubicBezTo>
                      <a:pt x="248" y="24"/>
                      <a:pt x="251" y="20"/>
                      <a:pt x="249" y="19"/>
                    </a:cubicBezTo>
                    <a:cubicBezTo>
                      <a:pt x="246" y="17"/>
                      <a:pt x="244" y="20"/>
                      <a:pt x="241" y="21"/>
                    </a:cubicBezTo>
                    <a:cubicBezTo>
                      <a:pt x="241" y="23"/>
                      <a:pt x="224" y="17"/>
                      <a:pt x="221" y="18"/>
                    </a:cubicBezTo>
                    <a:cubicBezTo>
                      <a:pt x="221" y="18"/>
                      <a:pt x="211" y="30"/>
                      <a:pt x="210" y="30"/>
                    </a:cubicBezTo>
                    <a:cubicBezTo>
                      <a:pt x="206" y="30"/>
                      <a:pt x="188" y="18"/>
                      <a:pt x="186" y="15"/>
                    </a:cubicBezTo>
                    <a:cubicBezTo>
                      <a:pt x="185" y="14"/>
                      <a:pt x="187" y="10"/>
                      <a:pt x="185" y="10"/>
                    </a:cubicBezTo>
                    <a:cubicBezTo>
                      <a:pt x="182" y="9"/>
                      <a:pt x="178" y="12"/>
                      <a:pt x="175" y="11"/>
                    </a:cubicBezTo>
                    <a:cubicBezTo>
                      <a:pt x="173" y="10"/>
                      <a:pt x="174" y="7"/>
                      <a:pt x="172" y="7"/>
                    </a:cubicBezTo>
                    <a:cubicBezTo>
                      <a:pt x="171" y="7"/>
                      <a:pt x="169" y="10"/>
                      <a:pt x="167" y="9"/>
                    </a:cubicBezTo>
                    <a:cubicBezTo>
                      <a:pt x="164" y="8"/>
                      <a:pt x="158" y="0"/>
                      <a:pt x="152" y="0"/>
                    </a:cubicBezTo>
                    <a:cubicBezTo>
                      <a:pt x="151" y="0"/>
                      <a:pt x="152" y="1"/>
                      <a:pt x="152" y="3"/>
                    </a:cubicBezTo>
                    <a:cubicBezTo>
                      <a:pt x="152" y="3"/>
                      <a:pt x="153" y="3"/>
                      <a:pt x="153" y="4"/>
                    </a:cubicBezTo>
                    <a:cubicBezTo>
                      <a:pt x="155" y="11"/>
                      <a:pt x="148" y="0"/>
                      <a:pt x="145" y="3"/>
                    </a:cubicBezTo>
                    <a:cubicBezTo>
                      <a:pt x="140" y="7"/>
                      <a:pt x="122" y="23"/>
                      <a:pt x="118" y="24"/>
                    </a:cubicBezTo>
                    <a:cubicBezTo>
                      <a:pt x="117" y="23"/>
                      <a:pt x="117" y="23"/>
                      <a:pt x="117" y="23"/>
                    </a:cubicBezTo>
                    <a:cubicBezTo>
                      <a:pt x="117" y="25"/>
                      <a:pt x="117" y="26"/>
                      <a:pt x="117" y="28"/>
                    </a:cubicBezTo>
                    <a:cubicBezTo>
                      <a:pt x="120" y="40"/>
                      <a:pt x="134" y="56"/>
                      <a:pt x="131" y="69"/>
                    </a:cubicBezTo>
                    <a:cubicBezTo>
                      <a:pt x="129" y="77"/>
                      <a:pt x="116" y="94"/>
                      <a:pt x="107" y="95"/>
                    </a:cubicBezTo>
                    <a:cubicBezTo>
                      <a:pt x="104" y="95"/>
                      <a:pt x="102" y="92"/>
                      <a:pt x="99" y="91"/>
                    </a:cubicBezTo>
                    <a:cubicBezTo>
                      <a:pt x="93" y="90"/>
                      <a:pt x="92" y="94"/>
                      <a:pt x="88" y="88"/>
                    </a:cubicBezTo>
                    <a:cubicBezTo>
                      <a:pt x="85" y="82"/>
                      <a:pt x="85" y="74"/>
                      <a:pt x="79" y="70"/>
                    </a:cubicBezTo>
                    <a:cubicBezTo>
                      <a:pt x="74" y="65"/>
                      <a:pt x="62" y="63"/>
                      <a:pt x="57" y="57"/>
                    </a:cubicBezTo>
                    <a:cubicBezTo>
                      <a:pt x="53" y="55"/>
                      <a:pt x="57" y="47"/>
                      <a:pt x="53" y="46"/>
                    </a:cubicBezTo>
                    <a:cubicBezTo>
                      <a:pt x="48" y="43"/>
                      <a:pt x="44" y="51"/>
                      <a:pt x="40" y="54"/>
                    </a:cubicBezTo>
                    <a:cubicBezTo>
                      <a:pt x="34" y="59"/>
                      <a:pt x="26" y="60"/>
                      <a:pt x="21" y="65"/>
                    </a:cubicBezTo>
                    <a:cubicBezTo>
                      <a:pt x="8" y="80"/>
                      <a:pt x="19" y="96"/>
                      <a:pt x="14" y="110"/>
                    </a:cubicBezTo>
                    <a:cubicBezTo>
                      <a:pt x="13" y="116"/>
                      <a:pt x="5" y="118"/>
                      <a:pt x="4" y="124"/>
                    </a:cubicBezTo>
                    <a:cubicBezTo>
                      <a:pt x="2" y="127"/>
                      <a:pt x="5" y="130"/>
                      <a:pt x="5" y="134"/>
                    </a:cubicBezTo>
                    <a:cubicBezTo>
                      <a:pt x="5" y="138"/>
                      <a:pt x="4" y="142"/>
                      <a:pt x="5" y="146"/>
                    </a:cubicBezTo>
                    <a:cubicBezTo>
                      <a:pt x="5" y="146"/>
                      <a:pt x="5" y="147"/>
                      <a:pt x="6" y="147"/>
                    </a:cubicBezTo>
                    <a:cubicBezTo>
                      <a:pt x="0" y="154"/>
                      <a:pt x="9" y="171"/>
                      <a:pt x="13" y="179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0" name="Romania"/>
              <p:cNvSpPr>
                <a:spLocks/>
              </p:cNvSpPr>
              <p:nvPr/>
            </p:nvSpPr>
            <p:spPr bwMode="auto">
              <a:xfrm>
                <a:off x="5972444" y="4750068"/>
                <a:ext cx="827863" cy="670607"/>
              </a:xfrm>
              <a:custGeom>
                <a:avLst/>
                <a:gdLst>
                  <a:gd name="T0" fmla="*/ 430 w 496"/>
                  <a:gd name="T1" fmla="*/ 306 h 372"/>
                  <a:gd name="T2" fmla="*/ 419 w 496"/>
                  <a:gd name="T3" fmla="*/ 301 h 372"/>
                  <a:gd name="T4" fmla="*/ 409 w 496"/>
                  <a:gd name="T5" fmla="*/ 298 h 372"/>
                  <a:gd name="T6" fmla="*/ 390 w 496"/>
                  <a:gd name="T7" fmla="*/ 300 h 372"/>
                  <a:gd name="T8" fmla="*/ 330 w 496"/>
                  <a:gd name="T9" fmla="*/ 323 h 372"/>
                  <a:gd name="T10" fmla="*/ 275 w 496"/>
                  <a:gd name="T11" fmla="*/ 354 h 372"/>
                  <a:gd name="T12" fmla="*/ 240 w 496"/>
                  <a:gd name="T13" fmla="*/ 362 h 372"/>
                  <a:gd name="T14" fmla="*/ 190 w 496"/>
                  <a:gd name="T15" fmla="*/ 361 h 372"/>
                  <a:gd name="T16" fmla="*/ 166 w 496"/>
                  <a:gd name="T17" fmla="*/ 348 h 372"/>
                  <a:gd name="T18" fmla="*/ 146 w 496"/>
                  <a:gd name="T19" fmla="*/ 315 h 372"/>
                  <a:gd name="T20" fmla="*/ 105 w 496"/>
                  <a:gd name="T21" fmla="*/ 317 h 372"/>
                  <a:gd name="T22" fmla="*/ 85 w 496"/>
                  <a:gd name="T23" fmla="*/ 318 h 372"/>
                  <a:gd name="T24" fmla="*/ 72 w 496"/>
                  <a:gd name="T25" fmla="*/ 310 h 372"/>
                  <a:gd name="T26" fmla="*/ 79 w 496"/>
                  <a:gd name="T27" fmla="*/ 298 h 372"/>
                  <a:gd name="T28" fmla="*/ 73 w 496"/>
                  <a:gd name="T29" fmla="*/ 281 h 372"/>
                  <a:gd name="T30" fmla="*/ 31 w 496"/>
                  <a:gd name="T31" fmla="*/ 245 h 372"/>
                  <a:gd name="T32" fmla="*/ 27 w 496"/>
                  <a:gd name="T33" fmla="*/ 246 h 372"/>
                  <a:gd name="T34" fmla="*/ 7 w 496"/>
                  <a:gd name="T35" fmla="*/ 231 h 372"/>
                  <a:gd name="T36" fmla="*/ 3 w 496"/>
                  <a:gd name="T37" fmla="*/ 219 h 372"/>
                  <a:gd name="T38" fmla="*/ 27 w 496"/>
                  <a:gd name="T39" fmla="*/ 205 h 372"/>
                  <a:gd name="T40" fmla="*/ 39 w 496"/>
                  <a:gd name="T41" fmla="*/ 207 h 372"/>
                  <a:gd name="T42" fmla="*/ 54 w 496"/>
                  <a:gd name="T43" fmla="*/ 173 h 372"/>
                  <a:gd name="T44" fmla="*/ 63 w 496"/>
                  <a:gd name="T45" fmla="*/ 146 h 372"/>
                  <a:gd name="T46" fmla="*/ 70 w 496"/>
                  <a:gd name="T47" fmla="*/ 118 h 372"/>
                  <a:gd name="T48" fmla="*/ 85 w 496"/>
                  <a:gd name="T49" fmla="*/ 86 h 372"/>
                  <a:gd name="T50" fmla="*/ 111 w 496"/>
                  <a:gd name="T51" fmla="*/ 66 h 372"/>
                  <a:gd name="T52" fmla="*/ 122 w 496"/>
                  <a:gd name="T53" fmla="*/ 51 h 372"/>
                  <a:gd name="T54" fmla="*/ 142 w 496"/>
                  <a:gd name="T55" fmla="*/ 55 h 372"/>
                  <a:gd name="T56" fmla="*/ 177 w 496"/>
                  <a:gd name="T57" fmla="*/ 57 h 372"/>
                  <a:gd name="T58" fmla="*/ 212 w 496"/>
                  <a:gd name="T59" fmla="*/ 63 h 372"/>
                  <a:gd name="T60" fmla="*/ 270 w 496"/>
                  <a:gd name="T61" fmla="*/ 30 h 372"/>
                  <a:gd name="T62" fmla="*/ 286 w 496"/>
                  <a:gd name="T63" fmla="*/ 6 h 372"/>
                  <a:gd name="T64" fmla="*/ 289 w 496"/>
                  <a:gd name="T65" fmla="*/ 0 h 372"/>
                  <a:gd name="T66" fmla="*/ 307 w 496"/>
                  <a:gd name="T67" fmla="*/ 9 h 372"/>
                  <a:gd name="T68" fmla="*/ 395 w 496"/>
                  <a:gd name="T69" fmla="*/ 105 h 372"/>
                  <a:gd name="T70" fmla="*/ 408 w 496"/>
                  <a:gd name="T71" fmla="*/ 176 h 372"/>
                  <a:gd name="T72" fmla="*/ 410 w 496"/>
                  <a:gd name="T73" fmla="*/ 184 h 372"/>
                  <a:gd name="T74" fmla="*/ 415 w 496"/>
                  <a:gd name="T75" fmla="*/ 189 h 372"/>
                  <a:gd name="T76" fmla="*/ 421 w 496"/>
                  <a:gd name="T77" fmla="*/ 196 h 372"/>
                  <a:gd name="T78" fmla="*/ 445 w 496"/>
                  <a:gd name="T79" fmla="*/ 191 h 372"/>
                  <a:gd name="T80" fmla="*/ 470 w 496"/>
                  <a:gd name="T81" fmla="*/ 175 h 372"/>
                  <a:gd name="T82" fmla="*/ 489 w 496"/>
                  <a:gd name="T83" fmla="*/ 186 h 372"/>
                  <a:gd name="T84" fmla="*/ 493 w 496"/>
                  <a:gd name="T85" fmla="*/ 189 h 372"/>
                  <a:gd name="T86" fmla="*/ 496 w 496"/>
                  <a:gd name="T87" fmla="*/ 213 h 372"/>
                  <a:gd name="T88" fmla="*/ 467 w 496"/>
                  <a:gd name="T89" fmla="*/ 234 h 372"/>
                  <a:gd name="T90" fmla="*/ 456 w 496"/>
                  <a:gd name="T91" fmla="*/ 216 h 372"/>
                  <a:gd name="T92" fmla="*/ 457 w 496"/>
                  <a:gd name="T93" fmla="*/ 239 h 372"/>
                  <a:gd name="T94" fmla="*/ 466 w 496"/>
                  <a:gd name="T95" fmla="*/ 238 h 372"/>
                  <a:gd name="T96" fmla="*/ 465 w 496"/>
                  <a:gd name="T97" fmla="*/ 240 h 372"/>
                  <a:gd name="T98" fmla="*/ 463 w 496"/>
                  <a:gd name="T99" fmla="*/ 307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96" h="372">
                    <a:moveTo>
                      <a:pt x="462" y="307"/>
                    </a:moveTo>
                    <a:cubicBezTo>
                      <a:pt x="453" y="309"/>
                      <a:pt x="439" y="314"/>
                      <a:pt x="430" y="306"/>
                    </a:cubicBezTo>
                    <a:cubicBezTo>
                      <a:pt x="427" y="304"/>
                      <a:pt x="427" y="296"/>
                      <a:pt x="423" y="298"/>
                    </a:cubicBezTo>
                    <a:cubicBezTo>
                      <a:pt x="422" y="298"/>
                      <a:pt x="420" y="301"/>
                      <a:pt x="419" y="301"/>
                    </a:cubicBezTo>
                    <a:cubicBezTo>
                      <a:pt x="410" y="306"/>
                      <a:pt x="414" y="303"/>
                      <a:pt x="415" y="301"/>
                    </a:cubicBezTo>
                    <a:cubicBezTo>
                      <a:pt x="415" y="299"/>
                      <a:pt x="414" y="298"/>
                      <a:pt x="409" y="298"/>
                    </a:cubicBezTo>
                    <a:cubicBezTo>
                      <a:pt x="404" y="298"/>
                      <a:pt x="401" y="303"/>
                      <a:pt x="396" y="304"/>
                    </a:cubicBezTo>
                    <a:cubicBezTo>
                      <a:pt x="392" y="304"/>
                      <a:pt x="391" y="302"/>
                      <a:pt x="390" y="300"/>
                    </a:cubicBezTo>
                    <a:cubicBezTo>
                      <a:pt x="388" y="298"/>
                      <a:pt x="385" y="295"/>
                      <a:pt x="369" y="301"/>
                    </a:cubicBezTo>
                    <a:cubicBezTo>
                      <a:pt x="358" y="305"/>
                      <a:pt x="338" y="314"/>
                      <a:pt x="330" y="323"/>
                    </a:cubicBezTo>
                    <a:cubicBezTo>
                      <a:pt x="320" y="332"/>
                      <a:pt x="319" y="344"/>
                      <a:pt x="306" y="352"/>
                    </a:cubicBezTo>
                    <a:cubicBezTo>
                      <a:pt x="295" y="359"/>
                      <a:pt x="286" y="354"/>
                      <a:pt x="275" y="354"/>
                    </a:cubicBezTo>
                    <a:cubicBezTo>
                      <a:pt x="266" y="353"/>
                      <a:pt x="256" y="353"/>
                      <a:pt x="248" y="356"/>
                    </a:cubicBezTo>
                    <a:cubicBezTo>
                      <a:pt x="245" y="357"/>
                      <a:pt x="243" y="361"/>
                      <a:pt x="240" y="362"/>
                    </a:cubicBezTo>
                    <a:cubicBezTo>
                      <a:pt x="231" y="366"/>
                      <a:pt x="221" y="364"/>
                      <a:pt x="211" y="362"/>
                    </a:cubicBezTo>
                    <a:cubicBezTo>
                      <a:pt x="204" y="361"/>
                      <a:pt x="196" y="360"/>
                      <a:pt x="190" y="361"/>
                    </a:cubicBezTo>
                    <a:cubicBezTo>
                      <a:pt x="177" y="362"/>
                      <a:pt x="173" y="372"/>
                      <a:pt x="160" y="366"/>
                    </a:cubicBezTo>
                    <a:cubicBezTo>
                      <a:pt x="150" y="362"/>
                      <a:pt x="172" y="350"/>
                      <a:pt x="166" y="348"/>
                    </a:cubicBezTo>
                    <a:cubicBezTo>
                      <a:pt x="157" y="344"/>
                      <a:pt x="130" y="338"/>
                      <a:pt x="132" y="323"/>
                    </a:cubicBezTo>
                    <a:cubicBezTo>
                      <a:pt x="132" y="318"/>
                      <a:pt x="151" y="318"/>
                      <a:pt x="146" y="315"/>
                    </a:cubicBezTo>
                    <a:cubicBezTo>
                      <a:pt x="86" y="285"/>
                      <a:pt x="139" y="312"/>
                      <a:pt x="115" y="326"/>
                    </a:cubicBezTo>
                    <a:cubicBezTo>
                      <a:pt x="111" y="329"/>
                      <a:pt x="109" y="319"/>
                      <a:pt x="105" y="317"/>
                    </a:cubicBezTo>
                    <a:cubicBezTo>
                      <a:pt x="102" y="315"/>
                      <a:pt x="98" y="317"/>
                      <a:pt x="95" y="317"/>
                    </a:cubicBezTo>
                    <a:cubicBezTo>
                      <a:pt x="92" y="317"/>
                      <a:pt x="88" y="319"/>
                      <a:pt x="85" y="318"/>
                    </a:cubicBezTo>
                    <a:cubicBezTo>
                      <a:pt x="83" y="317"/>
                      <a:pt x="84" y="314"/>
                      <a:pt x="83" y="311"/>
                    </a:cubicBezTo>
                    <a:cubicBezTo>
                      <a:pt x="82" y="309"/>
                      <a:pt x="77" y="309"/>
                      <a:pt x="72" y="310"/>
                    </a:cubicBezTo>
                    <a:cubicBezTo>
                      <a:pt x="66" y="310"/>
                      <a:pt x="62" y="311"/>
                      <a:pt x="70" y="305"/>
                    </a:cubicBezTo>
                    <a:cubicBezTo>
                      <a:pt x="73" y="303"/>
                      <a:pt x="82" y="301"/>
                      <a:pt x="79" y="298"/>
                    </a:cubicBezTo>
                    <a:cubicBezTo>
                      <a:pt x="76" y="297"/>
                      <a:pt x="70" y="298"/>
                      <a:pt x="69" y="295"/>
                    </a:cubicBezTo>
                    <a:cubicBezTo>
                      <a:pt x="69" y="292"/>
                      <a:pt x="80" y="285"/>
                      <a:pt x="73" y="281"/>
                    </a:cubicBezTo>
                    <a:cubicBezTo>
                      <a:pt x="62" y="275"/>
                      <a:pt x="40" y="277"/>
                      <a:pt x="33" y="264"/>
                    </a:cubicBezTo>
                    <a:cubicBezTo>
                      <a:pt x="31" y="262"/>
                      <a:pt x="31" y="248"/>
                      <a:pt x="31" y="245"/>
                    </a:cubicBezTo>
                    <a:cubicBezTo>
                      <a:pt x="31" y="244"/>
                      <a:pt x="31" y="244"/>
                      <a:pt x="31" y="244"/>
                    </a:cubicBezTo>
                    <a:cubicBezTo>
                      <a:pt x="30" y="244"/>
                      <a:pt x="28" y="247"/>
                      <a:pt x="27" y="246"/>
                    </a:cubicBezTo>
                    <a:cubicBezTo>
                      <a:pt x="23" y="244"/>
                      <a:pt x="23" y="238"/>
                      <a:pt x="19" y="235"/>
                    </a:cubicBezTo>
                    <a:cubicBezTo>
                      <a:pt x="16" y="233"/>
                      <a:pt x="11" y="233"/>
                      <a:pt x="7" y="231"/>
                    </a:cubicBezTo>
                    <a:cubicBezTo>
                      <a:pt x="4" y="229"/>
                      <a:pt x="2" y="225"/>
                      <a:pt x="0" y="222"/>
                    </a:cubicBezTo>
                    <a:cubicBezTo>
                      <a:pt x="1" y="221"/>
                      <a:pt x="2" y="219"/>
                      <a:pt x="3" y="219"/>
                    </a:cubicBezTo>
                    <a:cubicBezTo>
                      <a:pt x="6" y="218"/>
                      <a:pt x="23" y="216"/>
                      <a:pt x="24" y="212"/>
                    </a:cubicBezTo>
                    <a:cubicBezTo>
                      <a:pt x="26" y="210"/>
                      <a:pt x="17" y="207"/>
                      <a:pt x="27" y="205"/>
                    </a:cubicBezTo>
                    <a:cubicBezTo>
                      <a:pt x="29" y="205"/>
                      <a:pt x="31" y="206"/>
                      <a:pt x="33" y="206"/>
                    </a:cubicBezTo>
                    <a:cubicBezTo>
                      <a:pt x="35" y="207"/>
                      <a:pt x="37" y="208"/>
                      <a:pt x="39" y="207"/>
                    </a:cubicBezTo>
                    <a:cubicBezTo>
                      <a:pt x="49" y="203"/>
                      <a:pt x="46" y="183"/>
                      <a:pt x="49" y="177"/>
                    </a:cubicBezTo>
                    <a:cubicBezTo>
                      <a:pt x="50" y="175"/>
                      <a:pt x="53" y="175"/>
                      <a:pt x="54" y="173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61" y="151"/>
                      <a:pt x="63" y="148"/>
                      <a:pt x="63" y="146"/>
                    </a:cubicBezTo>
                    <a:cubicBezTo>
                      <a:pt x="63" y="145"/>
                      <a:pt x="60" y="145"/>
                      <a:pt x="60" y="143"/>
                    </a:cubicBezTo>
                    <a:cubicBezTo>
                      <a:pt x="61" y="138"/>
                      <a:pt x="67" y="122"/>
                      <a:pt x="70" y="118"/>
                    </a:cubicBezTo>
                    <a:cubicBezTo>
                      <a:pt x="71" y="117"/>
                      <a:pt x="74" y="118"/>
                      <a:pt x="74" y="116"/>
                    </a:cubicBezTo>
                    <a:cubicBezTo>
                      <a:pt x="76" y="105"/>
                      <a:pt x="73" y="98"/>
                      <a:pt x="85" y="86"/>
                    </a:cubicBezTo>
                    <a:cubicBezTo>
                      <a:pt x="89" y="81"/>
                      <a:pt x="93" y="84"/>
                      <a:pt x="100" y="82"/>
                    </a:cubicBezTo>
                    <a:cubicBezTo>
                      <a:pt x="106" y="79"/>
                      <a:pt x="106" y="70"/>
                      <a:pt x="111" y="66"/>
                    </a:cubicBezTo>
                    <a:cubicBezTo>
                      <a:pt x="113" y="67"/>
                      <a:pt x="116" y="65"/>
                      <a:pt x="120" y="54"/>
                    </a:cubicBezTo>
                    <a:cubicBezTo>
                      <a:pt x="121" y="53"/>
                      <a:pt x="121" y="51"/>
                      <a:pt x="122" y="51"/>
                    </a:cubicBezTo>
                    <a:cubicBezTo>
                      <a:pt x="123" y="51"/>
                      <a:pt x="138" y="58"/>
                      <a:pt x="139" y="58"/>
                    </a:cubicBezTo>
                    <a:cubicBezTo>
                      <a:pt x="140" y="58"/>
                      <a:pt x="141" y="55"/>
                      <a:pt x="142" y="55"/>
                    </a:cubicBezTo>
                    <a:cubicBezTo>
                      <a:pt x="146" y="53"/>
                      <a:pt x="153" y="54"/>
                      <a:pt x="160" y="56"/>
                    </a:cubicBezTo>
                    <a:cubicBezTo>
                      <a:pt x="166" y="57"/>
                      <a:pt x="173" y="58"/>
                      <a:pt x="177" y="57"/>
                    </a:cubicBezTo>
                    <a:cubicBezTo>
                      <a:pt x="182" y="55"/>
                      <a:pt x="186" y="51"/>
                      <a:pt x="191" y="50"/>
                    </a:cubicBezTo>
                    <a:cubicBezTo>
                      <a:pt x="200" y="49"/>
                      <a:pt x="206" y="61"/>
                      <a:pt x="212" y="63"/>
                    </a:cubicBezTo>
                    <a:cubicBezTo>
                      <a:pt x="221" y="66"/>
                      <a:pt x="224" y="50"/>
                      <a:pt x="226" y="48"/>
                    </a:cubicBezTo>
                    <a:cubicBezTo>
                      <a:pt x="236" y="37"/>
                      <a:pt x="262" y="38"/>
                      <a:pt x="270" y="30"/>
                    </a:cubicBezTo>
                    <a:cubicBezTo>
                      <a:pt x="285" y="16"/>
                      <a:pt x="263" y="28"/>
                      <a:pt x="274" y="14"/>
                    </a:cubicBezTo>
                    <a:cubicBezTo>
                      <a:pt x="277" y="10"/>
                      <a:pt x="281" y="8"/>
                      <a:pt x="286" y="6"/>
                    </a:cubicBezTo>
                    <a:cubicBezTo>
                      <a:pt x="286" y="5"/>
                      <a:pt x="286" y="5"/>
                      <a:pt x="286" y="5"/>
                    </a:cubicBezTo>
                    <a:cubicBezTo>
                      <a:pt x="289" y="0"/>
                      <a:pt x="289" y="0"/>
                      <a:pt x="289" y="0"/>
                    </a:cubicBezTo>
                    <a:cubicBezTo>
                      <a:pt x="288" y="1"/>
                      <a:pt x="288" y="3"/>
                      <a:pt x="288" y="4"/>
                    </a:cubicBezTo>
                    <a:cubicBezTo>
                      <a:pt x="296" y="0"/>
                      <a:pt x="301" y="4"/>
                      <a:pt x="307" y="9"/>
                    </a:cubicBezTo>
                    <a:cubicBezTo>
                      <a:pt x="319" y="17"/>
                      <a:pt x="321" y="31"/>
                      <a:pt x="331" y="41"/>
                    </a:cubicBezTo>
                    <a:cubicBezTo>
                      <a:pt x="347" y="56"/>
                      <a:pt x="390" y="83"/>
                      <a:pt x="395" y="105"/>
                    </a:cubicBezTo>
                    <a:cubicBezTo>
                      <a:pt x="399" y="120"/>
                      <a:pt x="394" y="135"/>
                      <a:pt x="397" y="150"/>
                    </a:cubicBezTo>
                    <a:cubicBezTo>
                      <a:pt x="398" y="156"/>
                      <a:pt x="409" y="170"/>
                      <a:pt x="408" y="176"/>
                    </a:cubicBezTo>
                    <a:cubicBezTo>
                      <a:pt x="408" y="178"/>
                      <a:pt x="404" y="179"/>
                      <a:pt x="404" y="181"/>
                    </a:cubicBezTo>
                    <a:cubicBezTo>
                      <a:pt x="405" y="184"/>
                      <a:pt x="408" y="182"/>
                      <a:pt x="410" y="184"/>
                    </a:cubicBezTo>
                    <a:cubicBezTo>
                      <a:pt x="411" y="185"/>
                      <a:pt x="411" y="189"/>
                      <a:pt x="414" y="189"/>
                    </a:cubicBezTo>
                    <a:cubicBezTo>
                      <a:pt x="414" y="189"/>
                      <a:pt x="415" y="189"/>
                      <a:pt x="415" y="189"/>
                    </a:cubicBezTo>
                    <a:cubicBezTo>
                      <a:pt x="416" y="189"/>
                      <a:pt x="417" y="189"/>
                      <a:pt x="418" y="189"/>
                    </a:cubicBezTo>
                    <a:cubicBezTo>
                      <a:pt x="419" y="191"/>
                      <a:pt x="419" y="194"/>
                      <a:pt x="421" y="196"/>
                    </a:cubicBezTo>
                    <a:cubicBezTo>
                      <a:pt x="423" y="198"/>
                      <a:pt x="448" y="199"/>
                      <a:pt x="447" y="197"/>
                    </a:cubicBezTo>
                    <a:cubicBezTo>
                      <a:pt x="447" y="196"/>
                      <a:pt x="439" y="194"/>
                      <a:pt x="445" y="191"/>
                    </a:cubicBezTo>
                    <a:cubicBezTo>
                      <a:pt x="448" y="189"/>
                      <a:pt x="452" y="190"/>
                      <a:pt x="456" y="188"/>
                    </a:cubicBezTo>
                    <a:cubicBezTo>
                      <a:pt x="461" y="185"/>
                      <a:pt x="463" y="177"/>
                      <a:pt x="470" y="175"/>
                    </a:cubicBezTo>
                    <a:cubicBezTo>
                      <a:pt x="482" y="171"/>
                      <a:pt x="488" y="175"/>
                      <a:pt x="491" y="186"/>
                    </a:cubicBezTo>
                    <a:cubicBezTo>
                      <a:pt x="491" y="186"/>
                      <a:pt x="489" y="186"/>
                      <a:pt x="489" y="186"/>
                    </a:cubicBezTo>
                    <a:cubicBezTo>
                      <a:pt x="489" y="188"/>
                      <a:pt x="490" y="189"/>
                      <a:pt x="491" y="190"/>
                    </a:cubicBezTo>
                    <a:cubicBezTo>
                      <a:pt x="492" y="190"/>
                      <a:pt x="492" y="190"/>
                      <a:pt x="493" y="189"/>
                    </a:cubicBezTo>
                    <a:cubicBezTo>
                      <a:pt x="493" y="189"/>
                      <a:pt x="494" y="189"/>
                      <a:pt x="494" y="189"/>
                    </a:cubicBezTo>
                    <a:cubicBezTo>
                      <a:pt x="495" y="191"/>
                      <a:pt x="496" y="211"/>
                      <a:pt x="496" y="213"/>
                    </a:cubicBezTo>
                    <a:cubicBezTo>
                      <a:pt x="495" y="220"/>
                      <a:pt x="478" y="221"/>
                      <a:pt x="474" y="224"/>
                    </a:cubicBezTo>
                    <a:cubicBezTo>
                      <a:pt x="471" y="227"/>
                      <a:pt x="471" y="234"/>
                      <a:pt x="467" y="234"/>
                    </a:cubicBezTo>
                    <a:cubicBezTo>
                      <a:pt x="467" y="233"/>
                      <a:pt x="471" y="215"/>
                      <a:pt x="463" y="210"/>
                    </a:cubicBezTo>
                    <a:cubicBezTo>
                      <a:pt x="461" y="209"/>
                      <a:pt x="457" y="214"/>
                      <a:pt x="456" y="216"/>
                    </a:cubicBezTo>
                    <a:cubicBezTo>
                      <a:pt x="453" y="220"/>
                      <a:pt x="463" y="224"/>
                      <a:pt x="463" y="228"/>
                    </a:cubicBezTo>
                    <a:cubicBezTo>
                      <a:pt x="463" y="233"/>
                      <a:pt x="454" y="236"/>
                      <a:pt x="457" y="239"/>
                    </a:cubicBezTo>
                    <a:cubicBezTo>
                      <a:pt x="459" y="242"/>
                      <a:pt x="463" y="234"/>
                      <a:pt x="467" y="234"/>
                    </a:cubicBezTo>
                    <a:cubicBezTo>
                      <a:pt x="469" y="233"/>
                      <a:pt x="467" y="237"/>
                      <a:pt x="466" y="238"/>
                    </a:cubicBezTo>
                    <a:cubicBezTo>
                      <a:pt x="465" y="238"/>
                      <a:pt x="465" y="239"/>
                      <a:pt x="463" y="240"/>
                    </a:cubicBezTo>
                    <a:cubicBezTo>
                      <a:pt x="464" y="239"/>
                      <a:pt x="465" y="239"/>
                      <a:pt x="465" y="240"/>
                    </a:cubicBezTo>
                    <a:cubicBezTo>
                      <a:pt x="469" y="242"/>
                      <a:pt x="455" y="264"/>
                      <a:pt x="455" y="265"/>
                    </a:cubicBezTo>
                    <a:cubicBezTo>
                      <a:pt x="456" y="269"/>
                      <a:pt x="461" y="289"/>
                      <a:pt x="463" y="307"/>
                    </a:cubicBezTo>
                    <a:cubicBezTo>
                      <a:pt x="462" y="307"/>
                      <a:pt x="462" y="307"/>
                      <a:pt x="462" y="307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1" name="Bulgaria"/>
              <p:cNvSpPr>
                <a:spLocks/>
              </p:cNvSpPr>
              <p:nvPr/>
            </p:nvSpPr>
            <p:spPr bwMode="auto">
              <a:xfrm>
                <a:off x="6190146" y="5282092"/>
                <a:ext cx="562770" cy="458751"/>
              </a:xfrm>
              <a:custGeom>
                <a:avLst/>
                <a:gdLst>
                  <a:gd name="T0" fmla="*/ 238 w 336"/>
                  <a:gd name="T1" fmla="*/ 187 h 255"/>
                  <a:gd name="T2" fmla="*/ 221 w 336"/>
                  <a:gd name="T3" fmla="*/ 223 h 255"/>
                  <a:gd name="T4" fmla="*/ 190 w 336"/>
                  <a:gd name="T5" fmla="*/ 232 h 255"/>
                  <a:gd name="T6" fmla="*/ 166 w 336"/>
                  <a:gd name="T7" fmla="*/ 233 h 255"/>
                  <a:gd name="T8" fmla="*/ 160 w 336"/>
                  <a:gd name="T9" fmla="*/ 230 h 255"/>
                  <a:gd name="T10" fmla="*/ 149 w 336"/>
                  <a:gd name="T11" fmla="*/ 221 h 255"/>
                  <a:gd name="T12" fmla="*/ 137 w 336"/>
                  <a:gd name="T13" fmla="*/ 225 h 255"/>
                  <a:gd name="T14" fmla="*/ 103 w 336"/>
                  <a:gd name="T15" fmla="*/ 242 h 255"/>
                  <a:gd name="T16" fmla="*/ 77 w 336"/>
                  <a:gd name="T17" fmla="*/ 253 h 255"/>
                  <a:gd name="T18" fmla="*/ 63 w 336"/>
                  <a:gd name="T19" fmla="*/ 253 h 255"/>
                  <a:gd name="T20" fmla="*/ 63 w 336"/>
                  <a:gd name="T21" fmla="*/ 222 h 255"/>
                  <a:gd name="T22" fmla="*/ 37 w 336"/>
                  <a:gd name="T23" fmla="*/ 201 h 255"/>
                  <a:gd name="T24" fmla="*/ 29 w 336"/>
                  <a:gd name="T25" fmla="*/ 174 h 255"/>
                  <a:gd name="T26" fmla="*/ 23 w 336"/>
                  <a:gd name="T27" fmla="*/ 170 h 255"/>
                  <a:gd name="T28" fmla="*/ 21 w 336"/>
                  <a:gd name="T29" fmla="*/ 161 h 255"/>
                  <a:gd name="T30" fmla="*/ 26 w 336"/>
                  <a:gd name="T31" fmla="*/ 143 h 255"/>
                  <a:gd name="T32" fmla="*/ 45 w 336"/>
                  <a:gd name="T33" fmla="*/ 117 h 255"/>
                  <a:gd name="T34" fmla="*/ 4 w 336"/>
                  <a:gd name="T35" fmla="*/ 65 h 255"/>
                  <a:gd name="T36" fmla="*/ 15 w 336"/>
                  <a:gd name="T37" fmla="*/ 45 h 255"/>
                  <a:gd name="T38" fmla="*/ 29 w 336"/>
                  <a:gd name="T39" fmla="*/ 71 h 255"/>
                  <a:gd name="T40" fmla="*/ 80 w 336"/>
                  <a:gd name="T41" fmla="*/ 67 h 255"/>
                  <a:gd name="T42" fmla="*/ 117 w 336"/>
                  <a:gd name="T43" fmla="*/ 61 h 255"/>
                  <a:gd name="T44" fmla="*/ 175 w 336"/>
                  <a:gd name="T45" fmla="*/ 57 h 255"/>
                  <a:gd name="T46" fmla="*/ 238 w 336"/>
                  <a:gd name="T47" fmla="*/ 6 h 255"/>
                  <a:gd name="T48" fmla="*/ 265 w 336"/>
                  <a:gd name="T49" fmla="*/ 9 h 255"/>
                  <a:gd name="T50" fmla="*/ 284 w 336"/>
                  <a:gd name="T51" fmla="*/ 6 h 255"/>
                  <a:gd name="T52" fmla="*/ 292 w 336"/>
                  <a:gd name="T53" fmla="*/ 3 h 255"/>
                  <a:gd name="T54" fmla="*/ 331 w 336"/>
                  <a:gd name="T55" fmla="*/ 12 h 255"/>
                  <a:gd name="T56" fmla="*/ 332 w 336"/>
                  <a:gd name="T57" fmla="*/ 41 h 255"/>
                  <a:gd name="T58" fmla="*/ 324 w 336"/>
                  <a:gd name="T59" fmla="*/ 39 h 255"/>
                  <a:gd name="T60" fmla="*/ 305 w 336"/>
                  <a:gd name="T61" fmla="*/ 61 h 255"/>
                  <a:gd name="T62" fmla="*/ 311 w 336"/>
                  <a:gd name="T63" fmla="*/ 86 h 255"/>
                  <a:gd name="T64" fmla="*/ 304 w 336"/>
                  <a:gd name="T65" fmla="*/ 100 h 255"/>
                  <a:gd name="T66" fmla="*/ 301 w 336"/>
                  <a:gd name="T67" fmla="*/ 106 h 255"/>
                  <a:gd name="T68" fmla="*/ 293 w 336"/>
                  <a:gd name="T69" fmla="*/ 119 h 255"/>
                  <a:gd name="T70" fmla="*/ 314 w 336"/>
                  <a:gd name="T71" fmla="*/ 127 h 255"/>
                  <a:gd name="T72" fmla="*/ 329 w 336"/>
                  <a:gd name="T73" fmla="*/ 141 h 255"/>
                  <a:gd name="T74" fmla="*/ 331 w 336"/>
                  <a:gd name="T75" fmla="*/ 147 h 255"/>
                  <a:gd name="T76" fmla="*/ 309 w 336"/>
                  <a:gd name="T77" fmla="*/ 157 h 255"/>
                  <a:gd name="T78" fmla="*/ 279 w 336"/>
                  <a:gd name="T79" fmla="*/ 153 h 255"/>
                  <a:gd name="T80" fmla="*/ 263 w 336"/>
                  <a:gd name="T81" fmla="*/ 164 h 255"/>
                  <a:gd name="T82" fmla="*/ 255 w 336"/>
                  <a:gd name="T83" fmla="*/ 17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36" h="255">
                    <a:moveTo>
                      <a:pt x="245" y="188"/>
                    </a:moveTo>
                    <a:cubicBezTo>
                      <a:pt x="243" y="187"/>
                      <a:pt x="240" y="187"/>
                      <a:pt x="238" y="187"/>
                    </a:cubicBezTo>
                    <a:cubicBezTo>
                      <a:pt x="216" y="192"/>
                      <a:pt x="252" y="208"/>
                      <a:pt x="239" y="217"/>
                    </a:cubicBezTo>
                    <a:cubicBezTo>
                      <a:pt x="239" y="217"/>
                      <a:pt x="222" y="223"/>
                      <a:pt x="221" y="223"/>
                    </a:cubicBezTo>
                    <a:cubicBezTo>
                      <a:pt x="213" y="226"/>
                      <a:pt x="200" y="236"/>
                      <a:pt x="192" y="235"/>
                    </a:cubicBezTo>
                    <a:cubicBezTo>
                      <a:pt x="190" y="235"/>
                      <a:pt x="191" y="233"/>
                      <a:pt x="190" y="232"/>
                    </a:cubicBezTo>
                    <a:cubicBezTo>
                      <a:pt x="184" y="229"/>
                      <a:pt x="177" y="226"/>
                      <a:pt x="171" y="227"/>
                    </a:cubicBezTo>
                    <a:cubicBezTo>
                      <a:pt x="168" y="228"/>
                      <a:pt x="168" y="233"/>
                      <a:pt x="166" y="233"/>
                    </a:cubicBezTo>
                    <a:cubicBezTo>
                      <a:pt x="164" y="234"/>
                      <a:pt x="163" y="230"/>
                      <a:pt x="162" y="229"/>
                    </a:cubicBezTo>
                    <a:cubicBezTo>
                      <a:pt x="161" y="229"/>
                      <a:pt x="160" y="229"/>
                      <a:pt x="160" y="230"/>
                    </a:cubicBezTo>
                    <a:cubicBezTo>
                      <a:pt x="159" y="230"/>
                      <a:pt x="159" y="230"/>
                      <a:pt x="158" y="230"/>
                    </a:cubicBezTo>
                    <a:cubicBezTo>
                      <a:pt x="154" y="227"/>
                      <a:pt x="153" y="221"/>
                      <a:pt x="149" y="221"/>
                    </a:cubicBezTo>
                    <a:cubicBezTo>
                      <a:pt x="145" y="220"/>
                      <a:pt x="144" y="225"/>
                      <a:pt x="140" y="226"/>
                    </a:cubicBezTo>
                    <a:cubicBezTo>
                      <a:pt x="139" y="226"/>
                      <a:pt x="138" y="225"/>
                      <a:pt x="137" y="225"/>
                    </a:cubicBezTo>
                    <a:cubicBezTo>
                      <a:pt x="135" y="224"/>
                      <a:pt x="134" y="223"/>
                      <a:pt x="133" y="224"/>
                    </a:cubicBezTo>
                    <a:cubicBezTo>
                      <a:pt x="123" y="230"/>
                      <a:pt x="119" y="237"/>
                      <a:pt x="103" y="242"/>
                    </a:cubicBezTo>
                    <a:cubicBezTo>
                      <a:pt x="97" y="244"/>
                      <a:pt x="88" y="242"/>
                      <a:pt x="82" y="246"/>
                    </a:cubicBezTo>
                    <a:cubicBezTo>
                      <a:pt x="80" y="247"/>
                      <a:pt x="80" y="252"/>
                      <a:pt x="77" y="253"/>
                    </a:cubicBezTo>
                    <a:cubicBezTo>
                      <a:pt x="76" y="255"/>
                      <a:pt x="73" y="253"/>
                      <a:pt x="71" y="253"/>
                    </a:cubicBezTo>
                    <a:cubicBezTo>
                      <a:pt x="68" y="253"/>
                      <a:pt x="65" y="253"/>
                      <a:pt x="63" y="253"/>
                    </a:cubicBezTo>
                    <a:cubicBezTo>
                      <a:pt x="63" y="254"/>
                      <a:pt x="63" y="255"/>
                      <a:pt x="63" y="255"/>
                    </a:cubicBezTo>
                    <a:cubicBezTo>
                      <a:pt x="64" y="251"/>
                      <a:pt x="63" y="222"/>
                      <a:pt x="63" y="222"/>
                    </a:cubicBezTo>
                    <a:cubicBezTo>
                      <a:pt x="59" y="218"/>
                      <a:pt x="52" y="207"/>
                      <a:pt x="47" y="203"/>
                    </a:cubicBezTo>
                    <a:cubicBezTo>
                      <a:pt x="45" y="201"/>
                      <a:pt x="41" y="203"/>
                      <a:pt x="37" y="201"/>
                    </a:cubicBezTo>
                    <a:cubicBezTo>
                      <a:pt x="36" y="201"/>
                      <a:pt x="21" y="189"/>
                      <a:pt x="21" y="188"/>
                    </a:cubicBezTo>
                    <a:cubicBezTo>
                      <a:pt x="24" y="183"/>
                      <a:pt x="31" y="182"/>
                      <a:pt x="29" y="174"/>
                    </a:cubicBezTo>
                    <a:cubicBezTo>
                      <a:pt x="28" y="172"/>
                      <a:pt x="26" y="171"/>
                      <a:pt x="25" y="170"/>
                    </a:cubicBezTo>
                    <a:cubicBezTo>
                      <a:pt x="24" y="170"/>
                      <a:pt x="24" y="170"/>
                      <a:pt x="23" y="170"/>
                    </a:cubicBezTo>
                    <a:cubicBezTo>
                      <a:pt x="22" y="170"/>
                      <a:pt x="22" y="170"/>
                      <a:pt x="21" y="169"/>
                    </a:cubicBezTo>
                    <a:cubicBezTo>
                      <a:pt x="21" y="166"/>
                      <a:pt x="21" y="164"/>
                      <a:pt x="21" y="161"/>
                    </a:cubicBezTo>
                    <a:cubicBezTo>
                      <a:pt x="21" y="157"/>
                      <a:pt x="17" y="154"/>
                      <a:pt x="18" y="151"/>
                    </a:cubicBezTo>
                    <a:cubicBezTo>
                      <a:pt x="28" y="136"/>
                      <a:pt x="26" y="140"/>
                      <a:pt x="26" y="143"/>
                    </a:cubicBezTo>
                    <a:cubicBezTo>
                      <a:pt x="26" y="146"/>
                      <a:pt x="26" y="149"/>
                      <a:pt x="34" y="143"/>
                    </a:cubicBezTo>
                    <a:cubicBezTo>
                      <a:pt x="36" y="141"/>
                      <a:pt x="48" y="121"/>
                      <a:pt x="45" y="117"/>
                    </a:cubicBezTo>
                    <a:cubicBezTo>
                      <a:pt x="40" y="114"/>
                      <a:pt x="18" y="104"/>
                      <a:pt x="17" y="102"/>
                    </a:cubicBezTo>
                    <a:cubicBezTo>
                      <a:pt x="11" y="97"/>
                      <a:pt x="0" y="73"/>
                      <a:pt x="4" y="65"/>
                    </a:cubicBezTo>
                    <a:cubicBezTo>
                      <a:pt x="5" y="61"/>
                      <a:pt x="12" y="61"/>
                      <a:pt x="14" y="58"/>
                    </a:cubicBezTo>
                    <a:cubicBezTo>
                      <a:pt x="16" y="54"/>
                      <a:pt x="13" y="49"/>
                      <a:pt x="15" y="45"/>
                    </a:cubicBezTo>
                    <a:cubicBezTo>
                      <a:pt x="22" y="48"/>
                      <a:pt x="31" y="50"/>
                      <a:pt x="35" y="53"/>
                    </a:cubicBezTo>
                    <a:cubicBezTo>
                      <a:pt x="41" y="55"/>
                      <a:pt x="19" y="67"/>
                      <a:pt x="29" y="71"/>
                    </a:cubicBezTo>
                    <a:cubicBezTo>
                      <a:pt x="42" y="77"/>
                      <a:pt x="46" y="67"/>
                      <a:pt x="59" y="66"/>
                    </a:cubicBezTo>
                    <a:cubicBezTo>
                      <a:pt x="65" y="65"/>
                      <a:pt x="73" y="66"/>
                      <a:pt x="80" y="67"/>
                    </a:cubicBezTo>
                    <a:cubicBezTo>
                      <a:pt x="90" y="69"/>
                      <a:pt x="100" y="71"/>
                      <a:pt x="109" y="67"/>
                    </a:cubicBezTo>
                    <a:cubicBezTo>
                      <a:pt x="112" y="66"/>
                      <a:pt x="114" y="62"/>
                      <a:pt x="117" y="61"/>
                    </a:cubicBezTo>
                    <a:cubicBezTo>
                      <a:pt x="125" y="58"/>
                      <a:pt x="135" y="58"/>
                      <a:pt x="144" y="59"/>
                    </a:cubicBezTo>
                    <a:cubicBezTo>
                      <a:pt x="155" y="59"/>
                      <a:pt x="164" y="64"/>
                      <a:pt x="175" y="57"/>
                    </a:cubicBezTo>
                    <a:cubicBezTo>
                      <a:pt x="188" y="49"/>
                      <a:pt x="189" y="37"/>
                      <a:pt x="199" y="28"/>
                    </a:cubicBezTo>
                    <a:cubicBezTo>
                      <a:pt x="207" y="19"/>
                      <a:pt x="227" y="10"/>
                      <a:pt x="238" y="6"/>
                    </a:cubicBezTo>
                    <a:cubicBezTo>
                      <a:pt x="254" y="0"/>
                      <a:pt x="257" y="3"/>
                      <a:pt x="259" y="5"/>
                    </a:cubicBezTo>
                    <a:cubicBezTo>
                      <a:pt x="260" y="7"/>
                      <a:pt x="261" y="9"/>
                      <a:pt x="265" y="9"/>
                    </a:cubicBezTo>
                    <a:cubicBezTo>
                      <a:pt x="270" y="8"/>
                      <a:pt x="273" y="3"/>
                      <a:pt x="278" y="3"/>
                    </a:cubicBezTo>
                    <a:cubicBezTo>
                      <a:pt x="283" y="3"/>
                      <a:pt x="284" y="4"/>
                      <a:pt x="284" y="6"/>
                    </a:cubicBezTo>
                    <a:cubicBezTo>
                      <a:pt x="283" y="8"/>
                      <a:pt x="279" y="11"/>
                      <a:pt x="288" y="6"/>
                    </a:cubicBezTo>
                    <a:cubicBezTo>
                      <a:pt x="289" y="6"/>
                      <a:pt x="291" y="3"/>
                      <a:pt x="292" y="3"/>
                    </a:cubicBezTo>
                    <a:cubicBezTo>
                      <a:pt x="296" y="1"/>
                      <a:pt x="296" y="9"/>
                      <a:pt x="299" y="11"/>
                    </a:cubicBezTo>
                    <a:cubicBezTo>
                      <a:pt x="308" y="19"/>
                      <a:pt x="322" y="14"/>
                      <a:pt x="331" y="12"/>
                    </a:cubicBezTo>
                    <a:cubicBezTo>
                      <a:pt x="332" y="12"/>
                      <a:pt x="332" y="12"/>
                      <a:pt x="332" y="12"/>
                    </a:cubicBezTo>
                    <a:cubicBezTo>
                      <a:pt x="335" y="26"/>
                      <a:pt x="336" y="39"/>
                      <a:pt x="332" y="41"/>
                    </a:cubicBezTo>
                    <a:cubicBezTo>
                      <a:pt x="331" y="42"/>
                      <a:pt x="329" y="41"/>
                      <a:pt x="328" y="40"/>
                    </a:cubicBezTo>
                    <a:cubicBezTo>
                      <a:pt x="327" y="40"/>
                      <a:pt x="325" y="39"/>
                      <a:pt x="324" y="39"/>
                    </a:cubicBezTo>
                    <a:cubicBezTo>
                      <a:pt x="303" y="45"/>
                      <a:pt x="317" y="44"/>
                      <a:pt x="310" y="57"/>
                    </a:cubicBezTo>
                    <a:cubicBezTo>
                      <a:pt x="310" y="59"/>
                      <a:pt x="306" y="59"/>
                      <a:pt x="305" y="61"/>
                    </a:cubicBezTo>
                    <a:cubicBezTo>
                      <a:pt x="305" y="62"/>
                      <a:pt x="308" y="61"/>
                      <a:pt x="308" y="62"/>
                    </a:cubicBezTo>
                    <a:cubicBezTo>
                      <a:pt x="309" y="71"/>
                      <a:pt x="309" y="77"/>
                      <a:pt x="311" y="86"/>
                    </a:cubicBezTo>
                    <a:cubicBezTo>
                      <a:pt x="312" y="89"/>
                      <a:pt x="315" y="94"/>
                      <a:pt x="313" y="97"/>
                    </a:cubicBezTo>
                    <a:cubicBezTo>
                      <a:pt x="312" y="100"/>
                      <a:pt x="306" y="98"/>
                      <a:pt x="304" y="100"/>
                    </a:cubicBezTo>
                    <a:cubicBezTo>
                      <a:pt x="303" y="100"/>
                      <a:pt x="305" y="101"/>
                      <a:pt x="305" y="101"/>
                    </a:cubicBezTo>
                    <a:cubicBezTo>
                      <a:pt x="304" y="104"/>
                      <a:pt x="301" y="104"/>
                      <a:pt x="301" y="106"/>
                    </a:cubicBezTo>
                    <a:cubicBezTo>
                      <a:pt x="300" y="108"/>
                      <a:pt x="304" y="110"/>
                      <a:pt x="303" y="111"/>
                    </a:cubicBezTo>
                    <a:cubicBezTo>
                      <a:pt x="300" y="114"/>
                      <a:pt x="295" y="115"/>
                      <a:pt x="293" y="119"/>
                    </a:cubicBezTo>
                    <a:cubicBezTo>
                      <a:pt x="288" y="125"/>
                      <a:pt x="291" y="124"/>
                      <a:pt x="297" y="123"/>
                    </a:cubicBezTo>
                    <a:cubicBezTo>
                      <a:pt x="303" y="121"/>
                      <a:pt x="311" y="120"/>
                      <a:pt x="314" y="127"/>
                    </a:cubicBezTo>
                    <a:cubicBezTo>
                      <a:pt x="314" y="128"/>
                      <a:pt x="313" y="130"/>
                      <a:pt x="313" y="131"/>
                    </a:cubicBezTo>
                    <a:cubicBezTo>
                      <a:pt x="313" y="132"/>
                      <a:pt x="326" y="139"/>
                      <a:pt x="329" y="141"/>
                    </a:cubicBezTo>
                    <a:cubicBezTo>
                      <a:pt x="330" y="144"/>
                      <a:pt x="332" y="145"/>
                      <a:pt x="332" y="147"/>
                    </a:cubicBezTo>
                    <a:cubicBezTo>
                      <a:pt x="331" y="147"/>
                      <a:pt x="331" y="147"/>
                      <a:pt x="331" y="147"/>
                    </a:cubicBezTo>
                    <a:cubicBezTo>
                      <a:pt x="328" y="148"/>
                      <a:pt x="325" y="147"/>
                      <a:pt x="321" y="148"/>
                    </a:cubicBezTo>
                    <a:cubicBezTo>
                      <a:pt x="317" y="150"/>
                      <a:pt x="313" y="154"/>
                      <a:pt x="309" y="157"/>
                    </a:cubicBezTo>
                    <a:cubicBezTo>
                      <a:pt x="308" y="157"/>
                      <a:pt x="309" y="160"/>
                      <a:pt x="309" y="159"/>
                    </a:cubicBezTo>
                    <a:cubicBezTo>
                      <a:pt x="296" y="156"/>
                      <a:pt x="292" y="146"/>
                      <a:pt x="279" y="153"/>
                    </a:cubicBezTo>
                    <a:cubicBezTo>
                      <a:pt x="269" y="164"/>
                      <a:pt x="269" y="164"/>
                      <a:pt x="269" y="164"/>
                    </a:cubicBezTo>
                    <a:cubicBezTo>
                      <a:pt x="267" y="164"/>
                      <a:pt x="265" y="164"/>
                      <a:pt x="263" y="164"/>
                    </a:cubicBezTo>
                    <a:cubicBezTo>
                      <a:pt x="261" y="164"/>
                      <a:pt x="259" y="164"/>
                      <a:pt x="257" y="165"/>
                    </a:cubicBezTo>
                    <a:cubicBezTo>
                      <a:pt x="254" y="168"/>
                      <a:pt x="257" y="174"/>
                      <a:pt x="255" y="177"/>
                    </a:cubicBezTo>
                    <a:cubicBezTo>
                      <a:pt x="252" y="181"/>
                      <a:pt x="240" y="179"/>
                      <a:pt x="245" y="188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2" name="Estonia"/>
              <p:cNvSpPr>
                <a:spLocks noEditPoints="1"/>
              </p:cNvSpPr>
              <p:nvPr/>
            </p:nvSpPr>
            <p:spPr bwMode="auto">
              <a:xfrm>
                <a:off x="5849522" y="3270276"/>
                <a:ext cx="402824" cy="299462"/>
              </a:xfrm>
              <a:custGeom>
                <a:avLst/>
                <a:gdLst>
                  <a:gd name="T0" fmla="*/ 133 w 241"/>
                  <a:gd name="T1" fmla="*/ 129 h 166"/>
                  <a:gd name="T2" fmla="*/ 140 w 241"/>
                  <a:gd name="T3" fmla="*/ 129 h 166"/>
                  <a:gd name="T4" fmla="*/ 155 w 241"/>
                  <a:gd name="T5" fmla="*/ 135 h 166"/>
                  <a:gd name="T6" fmla="*/ 163 w 241"/>
                  <a:gd name="T7" fmla="*/ 137 h 166"/>
                  <a:gd name="T8" fmla="*/ 174 w 241"/>
                  <a:gd name="T9" fmla="*/ 141 h 166"/>
                  <a:gd name="T10" fmla="*/ 209 w 241"/>
                  <a:gd name="T11" fmla="*/ 144 h 166"/>
                  <a:gd name="T12" fmla="*/ 228 w 241"/>
                  <a:gd name="T13" fmla="*/ 134 h 166"/>
                  <a:gd name="T14" fmla="*/ 231 w 241"/>
                  <a:gd name="T15" fmla="*/ 128 h 166"/>
                  <a:gd name="T16" fmla="*/ 241 w 241"/>
                  <a:gd name="T17" fmla="*/ 118 h 166"/>
                  <a:gd name="T18" fmla="*/ 232 w 241"/>
                  <a:gd name="T19" fmla="*/ 105 h 166"/>
                  <a:gd name="T20" fmla="*/ 221 w 241"/>
                  <a:gd name="T21" fmla="*/ 84 h 166"/>
                  <a:gd name="T22" fmla="*/ 216 w 241"/>
                  <a:gd name="T23" fmla="*/ 38 h 166"/>
                  <a:gd name="T24" fmla="*/ 216 w 241"/>
                  <a:gd name="T25" fmla="*/ 15 h 166"/>
                  <a:gd name="T26" fmla="*/ 212 w 241"/>
                  <a:gd name="T27" fmla="*/ 7 h 166"/>
                  <a:gd name="T28" fmla="*/ 139 w 241"/>
                  <a:gd name="T29" fmla="*/ 7 h 166"/>
                  <a:gd name="T30" fmla="*/ 129 w 241"/>
                  <a:gd name="T31" fmla="*/ 7 h 166"/>
                  <a:gd name="T32" fmla="*/ 121 w 241"/>
                  <a:gd name="T33" fmla="*/ 23 h 166"/>
                  <a:gd name="T34" fmla="*/ 97 w 241"/>
                  <a:gd name="T35" fmla="*/ 22 h 166"/>
                  <a:gd name="T36" fmla="*/ 72 w 241"/>
                  <a:gd name="T37" fmla="*/ 41 h 166"/>
                  <a:gd name="T38" fmla="*/ 53 w 241"/>
                  <a:gd name="T39" fmla="*/ 58 h 166"/>
                  <a:gd name="T40" fmla="*/ 59 w 241"/>
                  <a:gd name="T41" fmla="*/ 91 h 166"/>
                  <a:gd name="T42" fmla="*/ 76 w 241"/>
                  <a:gd name="T43" fmla="*/ 121 h 166"/>
                  <a:gd name="T44" fmla="*/ 93 w 241"/>
                  <a:gd name="T45" fmla="*/ 125 h 166"/>
                  <a:gd name="T46" fmla="*/ 106 w 241"/>
                  <a:gd name="T47" fmla="*/ 121 h 166"/>
                  <a:gd name="T48" fmla="*/ 105 w 241"/>
                  <a:gd name="T49" fmla="*/ 149 h 166"/>
                  <a:gd name="T50" fmla="*/ 44 w 241"/>
                  <a:gd name="T51" fmla="*/ 106 h 166"/>
                  <a:gd name="T52" fmla="*/ 56 w 241"/>
                  <a:gd name="T53" fmla="*/ 116 h 166"/>
                  <a:gd name="T54" fmla="*/ 49 w 241"/>
                  <a:gd name="T55" fmla="*/ 125 h 166"/>
                  <a:gd name="T56" fmla="*/ 46 w 241"/>
                  <a:gd name="T57" fmla="*/ 129 h 166"/>
                  <a:gd name="T58" fmla="*/ 33 w 241"/>
                  <a:gd name="T59" fmla="*/ 138 h 166"/>
                  <a:gd name="T60" fmla="*/ 23 w 241"/>
                  <a:gd name="T61" fmla="*/ 143 h 166"/>
                  <a:gd name="T62" fmla="*/ 15 w 241"/>
                  <a:gd name="T63" fmla="*/ 164 h 166"/>
                  <a:gd name="T64" fmla="*/ 15 w 241"/>
                  <a:gd name="T65" fmla="*/ 144 h 166"/>
                  <a:gd name="T66" fmla="*/ 10 w 241"/>
                  <a:gd name="T67" fmla="*/ 132 h 166"/>
                  <a:gd name="T68" fmla="*/ 13 w 241"/>
                  <a:gd name="T69" fmla="*/ 126 h 166"/>
                  <a:gd name="T70" fmla="*/ 19 w 241"/>
                  <a:gd name="T71" fmla="*/ 119 h 166"/>
                  <a:gd name="T72" fmla="*/ 24 w 241"/>
                  <a:gd name="T73" fmla="*/ 74 h 166"/>
                  <a:gd name="T74" fmla="*/ 28 w 241"/>
                  <a:gd name="T75" fmla="*/ 79 h 166"/>
                  <a:gd name="T76" fmla="*/ 37 w 241"/>
                  <a:gd name="T77" fmla="*/ 90 h 166"/>
                  <a:gd name="T78" fmla="*/ 20 w 241"/>
                  <a:gd name="T79" fmla="*/ 93 h 166"/>
                  <a:gd name="T80" fmla="*/ 17 w 241"/>
                  <a:gd name="T81" fmla="*/ 85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1" h="166">
                    <a:moveTo>
                      <a:pt x="106" y="150"/>
                    </a:moveTo>
                    <a:cubicBezTo>
                      <a:pt x="110" y="149"/>
                      <a:pt x="128" y="133"/>
                      <a:pt x="133" y="129"/>
                    </a:cubicBezTo>
                    <a:cubicBezTo>
                      <a:pt x="136" y="126"/>
                      <a:pt x="143" y="137"/>
                      <a:pt x="141" y="130"/>
                    </a:cubicBezTo>
                    <a:cubicBezTo>
                      <a:pt x="141" y="129"/>
                      <a:pt x="140" y="129"/>
                      <a:pt x="140" y="129"/>
                    </a:cubicBezTo>
                    <a:cubicBezTo>
                      <a:pt x="140" y="127"/>
                      <a:pt x="139" y="126"/>
                      <a:pt x="140" y="126"/>
                    </a:cubicBezTo>
                    <a:cubicBezTo>
                      <a:pt x="146" y="126"/>
                      <a:pt x="152" y="134"/>
                      <a:pt x="155" y="135"/>
                    </a:cubicBezTo>
                    <a:cubicBezTo>
                      <a:pt x="157" y="136"/>
                      <a:pt x="159" y="133"/>
                      <a:pt x="160" y="133"/>
                    </a:cubicBezTo>
                    <a:cubicBezTo>
                      <a:pt x="162" y="133"/>
                      <a:pt x="161" y="136"/>
                      <a:pt x="163" y="137"/>
                    </a:cubicBezTo>
                    <a:cubicBezTo>
                      <a:pt x="166" y="138"/>
                      <a:pt x="170" y="135"/>
                      <a:pt x="173" y="136"/>
                    </a:cubicBezTo>
                    <a:cubicBezTo>
                      <a:pt x="175" y="136"/>
                      <a:pt x="173" y="140"/>
                      <a:pt x="174" y="141"/>
                    </a:cubicBezTo>
                    <a:cubicBezTo>
                      <a:pt x="176" y="144"/>
                      <a:pt x="194" y="156"/>
                      <a:pt x="198" y="156"/>
                    </a:cubicBezTo>
                    <a:cubicBezTo>
                      <a:pt x="199" y="156"/>
                      <a:pt x="209" y="144"/>
                      <a:pt x="209" y="144"/>
                    </a:cubicBezTo>
                    <a:cubicBezTo>
                      <a:pt x="212" y="143"/>
                      <a:pt x="229" y="149"/>
                      <a:pt x="229" y="147"/>
                    </a:cubicBezTo>
                    <a:cubicBezTo>
                      <a:pt x="230" y="144"/>
                      <a:pt x="226" y="136"/>
                      <a:pt x="228" y="134"/>
                    </a:cubicBezTo>
                    <a:cubicBezTo>
                      <a:pt x="229" y="133"/>
                      <a:pt x="232" y="133"/>
                      <a:pt x="233" y="131"/>
                    </a:cubicBezTo>
                    <a:cubicBezTo>
                      <a:pt x="233" y="130"/>
                      <a:pt x="231" y="130"/>
                      <a:pt x="231" y="128"/>
                    </a:cubicBezTo>
                    <a:cubicBezTo>
                      <a:pt x="230" y="127"/>
                      <a:pt x="230" y="125"/>
                      <a:pt x="231" y="124"/>
                    </a:cubicBezTo>
                    <a:cubicBezTo>
                      <a:pt x="238" y="118"/>
                      <a:pt x="238" y="125"/>
                      <a:pt x="241" y="118"/>
                    </a:cubicBezTo>
                    <a:cubicBezTo>
                      <a:pt x="241" y="116"/>
                      <a:pt x="236" y="117"/>
                      <a:pt x="234" y="116"/>
                    </a:cubicBezTo>
                    <a:cubicBezTo>
                      <a:pt x="230" y="112"/>
                      <a:pt x="233" y="109"/>
                      <a:pt x="232" y="105"/>
                    </a:cubicBezTo>
                    <a:cubicBezTo>
                      <a:pt x="231" y="103"/>
                      <a:pt x="222" y="98"/>
                      <a:pt x="220" y="96"/>
                    </a:cubicBezTo>
                    <a:cubicBezTo>
                      <a:pt x="216" y="88"/>
                      <a:pt x="221" y="92"/>
                      <a:pt x="221" y="84"/>
                    </a:cubicBezTo>
                    <a:cubicBezTo>
                      <a:pt x="221" y="74"/>
                      <a:pt x="209" y="63"/>
                      <a:pt x="208" y="53"/>
                    </a:cubicBezTo>
                    <a:cubicBezTo>
                      <a:pt x="207" y="47"/>
                      <a:pt x="214" y="43"/>
                      <a:pt x="216" y="38"/>
                    </a:cubicBezTo>
                    <a:cubicBezTo>
                      <a:pt x="216" y="24"/>
                      <a:pt x="216" y="24"/>
                      <a:pt x="216" y="24"/>
                    </a:cubicBezTo>
                    <a:cubicBezTo>
                      <a:pt x="216" y="21"/>
                      <a:pt x="214" y="18"/>
                      <a:pt x="216" y="15"/>
                    </a:cubicBezTo>
                    <a:cubicBezTo>
                      <a:pt x="221" y="4"/>
                      <a:pt x="231" y="9"/>
                      <a:pt x="217" y="0"/>
                    </a:cubicBezTo>
                    <a:cubicBezTo>
                      <a:pt x="217" y="2"/>
                      <a:pt x="216" y="5"/>
                      <a:pt x="212" y="7"/>
                    </a:cubicBezTo>
                    <a:cubicBezTo>
                      <a:pt x="207" y="10"/>
                      <a:pt x="153" y="11"/>
                      <a:pt x="144" y="10"/>
                    </a:cubicBezTo>
                    <a:cubicBezTo>
                      <a:pt x="143" y="10"/>
                      <a:pt x="142" y="7"/>
                      <a:pt x="139" y="7"/>
                    </a:cubicBezTo>
                    <a:cubicBezTo>
                      <a:pt x="129" y="10"/>
                      <a:pt x="153" y="16"/>
                      <a:pt x="135" y="14"/>
                    </a:cubicBezTo>
                    <a:cubicBezTo>
                      <a:pt x="132" y="13"/>
                      <a:pt x="131" y="7"/>
                      <a:pt x="129" y="7"/>
                    </a:cubicBezTo>
                    <a:cubicBezTo>
                      <a:pt x="126" y="8"/>
                      <a:pt x="130" y="13"/>
                      <a:pt x="129" y="15"/>
                    </a:cubicBezTo>
                    <a:cubicBezTo>
                      <a:pt x="127" y="18"/>
                      <a:pt x="124" y="22"/>
                      <a:pt x="121" y="23"/>
                    </a:cubicBezTo>
                    <a:cubicBezTo>
                      <a:pt x="115" y="26"/>
                      <a:pt x="109" y="27"/>
                      <a:pt x="103" y="26"/>
                    </a:cubicBezTo>
                    <a:cubicBezTo>
                      <a:pt x="100" y="26"/>
                      <a:pt x="99" y="21"/>
                      <a:pt x="97" y="22"/>
                    </a:cubicBezTo>
                    <a:cubicBezTo>
                      <a:pt x="94" y="24"/>
                      <a:pt x="101" y="30"/>
                      <a:pt x="98" y="31"/>
                    </a:cubicBezTo>
                    <a:cubicBezTo>
                      <a:pt x="92" y="32"/>
                      <a:pt x="75" y="33"/>
                      <a:pt x="72" y="41"/>
                    </a:cubicBezTo>
                    <a:cubicBezTo>
                      <a:pt x="71" y="44"/>
                      <a:pt x="77" y="47"/>
                      <a:pt x="75" y="49"/>
                    </a:cubicBezTo>
                    <a:cubicBezTo>
                      <a:pt x="73" y="54"/>
                      <a:pt x="56" y="53"/>
                      <a:pt x="53" y="58"/>
                    </a:cubicBezTo>
                    <a:cubicBezTo>
                      <a:pt x="45" y="79"/>
                      <a:pt x="60" y="66"/>
                      <a:pt x="63" y="75"/>
                    </a:cubicBezTo>
                    <a:cubicBezTo>
                      <a:pt x="65" y="80"/>
                      <a:pt x="57" y="86"/>
                      <a:pt x="59" y="91"/>
                    </a:cubicBezTo>
                    <a:cubicBezTo>
                      <a:pt x="61" y="97"/>
                      <a:pt x="70" y="104"/>
                      <a:pt x="71" y="106"/>
                    </a:cubicBezTo>
                    <a:cubicBezTo>
                      <a:pt x="75" y="111"/>
                      <a:pt x="69" y="117"/>
                      <a:pt x="76" y="121"/>
                    </a:cubicBezTo>
                    <a:cubicBezTo>
                      <a:pt x="79" y="122"/>
                      <a:pt x="83" y="119"/>
                      <a:pt x="86" y="120"/>
                    </a:cubicBezTo>
                    <a:cubicBezTo>
                      <a:pt x="88" y="121"/>
                      <a:pt x="90" y="126"/>
                      <a:pt x="93" y="125"/>
                    </a:cubicBezTo>
                    <a:cubicBezTo>
                      <a:pt x="97" y="122"/>
                      <a:pt x="97" y="101"/>
                      <a:pt x="109" y="115"/>
                    </a:cubicBezTo>
                    <a:cubicBezTo>
                      <a:pt x="110" y="117"/>
                      <a:pt x="106" y="118"/>
                      <a:pt x="106" y="121"/>
                    </a:cubicBezTo>
                    <a:cubicBezTo>
                      <a:pt x="106" y="125"/>
                      <a:pt x="108" y="130"/>
                      <a:pt x="108" y="134"/>
                    </a:cubicBezTo>
                    <a:cubicBezTo>
                      <a:pt x="108" y="146"/>
                      <a:pt x="104" y="139"/>
                      <a:pt x="105" y="149"/>
                    </a:cubicBezTo>
                    <a:lnTo>
                      <a:pt x="106" y="150"/>
                    </a:lnTo>
                    <a:close/>
                    <a:moveTo>
                      <a:pt x="44" y="106"/>
                    </a:moveTo>
                    <a:cubicBezTo>
                      <a:pt x="52" y="112"/>
                      <a:pt x="51" y="112"/>
                      <a:pt x="60" y="116"/>
                    </a:cubicBezTo>
                    <a:cubicBezTo>
                      <a:pt x="64" y="118"/>
                      <a:pt x="53" y="111"/>
                      <a:pt x="56" y="116"/>
                    </a:cubicBezTo>
                    <a:cubicBezTo>
                      <a:pt x="58" y="121"/>
                      <a:pt x="56" y="113"/>
                      <a:pt x="52" y="114"/>
                    </a:cubicBezTo>
                    <a:cubicBezTo>
                      <a:pt x="49" y="114"/>
                      <a:pt x="52" y="122"/>
                      <a:pt x="49" y="125"/>
                    </a:cubicBezTo>
                    <a:cubicBezTo>
                      <a:pt x="49" y="125"/>
                      <a:pt x="47" y="122"/>
                      <a:pt x="46" y="123"/>
                    </a:cubicBezTo>
                    <a:cubicBezTo>
                      <a:pt x="45" y="124"/>
                      <a:pt x="47" y="127"/>
                      <a:pt x="46" y="129"/>
                    </a:cubicBezTo>
                    <a:cubicBezTo>
                      <a:pt x="43" y="136"/>
                      <a:pt x="37" y="134"/>
                      <a:pt x="36" y="135"/>
                    </a:cubicBezTo>
                    <a:cubicBezTo>
                      <a:pt x="35" y="135"/>
                      <a:pt x="35" y="137"/>
                      <a:pt x="33" y="138"/>
                    </a:cubicBezTo>
                    <a:cubicBezTo>
                      <a:pt x="30" y="139"/>
                      <a:pt x="26" y="140"/>
                      <a:pt x="23" y="142"/>
                    </a:cubicBezTo>
                    <a:cubicBezTo>
                      <a:pt x="23" y="142"/>
                      <a:pt x="23" y="143"/>
                      <a:pt x="23" y="143"/>
                    </a:cubicBezTo>
                    <a:cubicBezTo>
                      <a:pt x="23" y="148"/>
                      <a:pt x="24" y="153"/>
                      <a:pt x="23" y="157"/>
                    </a:cubicBezTo>
                    <a:cubicBezTo>
                      <a:pt x="22" y="160"/>
                      <a:pt x="18" y="166"/>
                      <a:pt x="15" y="164"/>
                    </a:cubicBezTo>
                    <a:cubicBezTo>
                      <a:pt x="9" y="156"/>
                      <a:pt x="22" y="151"/>
                      <a:pt x="20" y="145"/>
                    </a:cubicBezTo>
                    <a:cubicBezTo>
                      <a:pt x="20" y="143"/>
                      <a:pt x="17" y="146"/>
                      <a:pt x="15" y="144"/>
                    </a:cubicBezTo>
                    <a:cubicBezTo>
                      <a:pt x="12" y="143"/>
                      <a:pt x="7" y="142"/>
                      <a:pt x="5" y="138"/>
                    </a:cubicBezTo>
                    <a:cubicBezTo>
                      <a:pt x="4" y="135"/>
                      <a:pt x="10" y="134"/>
                      <a:pt x="10" y="132"/>
                    </a:cubicBezTo>
                    <a:cubicBezTo>
                      <a:pt x="9" y="127"/>
                      <a:pt x="0" y="126"/>
                      <a:pt x="2" y="122"/>
                    </a:cubicBezTo>
                    <a:cubicBezTo>
                      <a:pt x="3" y="118"/>
                      <a:pt x="9" y="126"/>
                      <a:pt x="13" y="126"/>
                    </a:cubicBezTo>
                    <a:cubicBezTo>
                      <a:pt x="16" y="126"/>
                      <a:pt x="11" y="117"/>
                      <a:pt x="14" y="116"/>
                    </a:cubicBezTo>
                    <a:cubicBezTo>
                      <a:pt x="16" y="115"/>
                      <a:pt x="18" y="121"/>
                      <a:pt x="19" y="119"/>
                    </a:cubicBezTo>
                    <a:cubicBezTo>
                      <a:pt x="23" y="105"/>
                      <a:pt x="31" y="110"/>
                      <a:pt x="44" y="106"/>
                    </a:cubicBezTo>
                    <a:close/>
                    <a:moveTo>
                      <a:pt x="24" y="74"/>
                    </a:moveTo>
                    <a:cubicBezTo>
                      <a:pt x="25" y="74"/>
                      <a:pt x="27" y="73"/>
                      <a:pt x="27" y="74"/>
                    </a:cubicBezTo>
                    <a:cubicBezTo>
                      <a:pt x="28" y="75"/>
                      <a:pt x="27" y="78"/>
                      <a:pt x="28" y="79"/>
                    </a:cubicBezTo>
                    <a:cubicBezTo>
                      <a:pt x="31" y="80"/>
                      <a:pt x="35" y="78"/>
                      <a:pt x="37" y="79"/>
                    </a:cubicBezTo>
                    <a:cubicBezTo>
                      <a:pt x="56" y="90"/>
                      <a:pt x="38" y="88"/>
                      <a:pt x="37" y="90"/>
                    </a:cubicBezTo>
                    <a:cubicBezTo>
                      <a:pt x="32" y="101"/>
                      <a:pt x="48" y="92"/>
                      <a:pt x="27" y="104"/>
                    </a:cubicBezTo>
                    <a:cubicBezTo>
                      <a:pt x="21" y="107"/>
                      <a:pt x="20" y="93"/>
                      <a:pt x="20" y="93"/>
                    </a:cubicBezTo>
                    <a:cubicBezTo>
                      <a:pt x="18" y="87"/>
                      <a:pt x="8" y="90"/>
                      <a:pt x="4" y="88"/>
                    </a:cubicBezTo>
                    <a:cubicBezTo>
                      <a:pt x="0" y="88"/>
                      <a:pt x="13" y="86"/>
                      <a:pt x="17" y="85"/>
                    </a:cubicBezTo>
                    <a:cubicBezTo>
                      <a:pt x="22" y="84"/>
                      <a:pt x="23" y="77"/>
                      <a:pt x="24" y="74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3" name="Luxembourg"/>
              <p:cNvSpPr>
                <a:spLocks/>
              </p:cNvSpPr>
              <p:nvPr/>
            </p:nvSpPr>
            <p:spPr bwMode="auto">
              <a:xfrm>
                <a:off x="4743237" y="4651309"/>
                <a:ext cx="78491" cy="111502"/>
              </a:xfrm>
              <a:custGeom>
                <a:avLst/>
                <a:gdLst>
                  <a:gd name="T0" fmla="*/ 30 w 47"/>
                  <a:gd name="T1" fmla="*/ 61 h 62"/>
                  <a:gd name="T2" fmla="*/ 20 w 47"/>
                  <a:gd name="T3" fmla="*/ 59 h 62"/>
                  <a:gd name="T4" fmla="*/ 11 w 47"/>
                  <a:gd name="T5" fmla="*/ 61 h 62"/>
                  <a:gd name="T6" fmla="*/ 11 w 47"/>
                  <a:gd name="T7" fmla="*/ 59 h 62"/>
                  <a:gd name="T8" fmla="*/ 4 w 47"/>
                  <a:gd name="T9" fmla="*/ 56 h 62"/>
                  <a:gd name="T10" fmla="*/ 4 w 47"/>
                  <a:gd name="T11" fmla="*/ 54 h 62"/>
                  <a:gd name="T12" fmla="*/ 1 w 47"/>
                  <a:gd name="T13" fmla="*/ 28 h 62"/>
                  <a:gd name="T14" fmla="*/ 21 w 47"/>
                  <a:gd name="T15" fmla="*/ 11 h 62"/>
                  <a:gd name="T16" fmla="*/ 21 w 47"/>
                  <a:gd name="T17" fmla="*/ 21 h 62"/>
                  <a:gd name="T18" fmla="*/ 39 w 47"/>
                  <a:gd name="T19" fmla="*/ 36 h 62"/>
                  <a:gd name="T20" fmla="*/ 30 w 47"/>
                  <a:gd name="T21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7" h="62">
                    <a:moveTo>
                      <a:pt x="30" y="61"/>
                    </a:moveTo>
                    <a:cubicBezTo>
                      <a:pt x="27" y="60"/>
                      <a:pt x="24" y="59"/>
                      <a:pt x="20" y="59"/>
                    </a:cubicBezTo>
                    <a:cubicBezTo>
                      <a:pt x="18" y="59"/>
                      <a:pt x="15" y="61"/>
                      <a:pt x="11" y="61"/>
                    </a:cubicBezTo>
                    <a:cubicBezTo>
                      <a:pt x="11" y="62"/>
                      <a:pt x="11" y="60"/>
                      <a:pt x="11" y="59"/>
                    </a:cubicBezTo>
                    <a:cubicBezTo>
                      <a:pt x="9" y="58"/>
                      <a:pt x="6" y="57"/>
                      <a:pt x="4" y="56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17" y="55"/>
                      <a:pt x="0" y="33"/>
                      <a:pt x="1" y="28"/>
                    </a:cubicBezTo>
                    <a:cubicBezTo>
                      <a:pt x="4" y="21"/>
                      <a:pt x="15" y="0"/>
                      <a:pt x="21" y="11"/>
                    </a:cubicBezTo>
                    <a:cubicBezTo>
                      <a:pt x="20" y="14"/>
                      <a:pt x="20" y="17"/>
                      <a:pt x="21" y="21"/>
                    </a:cubicBezTo>
                    <a:cubicBezTo>
                      <a:pt x="24" y="33"/>
                      <a:pt x="37" y="34"/>
                      <a:pt x="39" y="36"/>
                    </a:cubicBezTo>
                    <a:cubicBezTo>
                      <a:pt x="47" y="46"/>
                      <a:pt x="24" y="50"/>
                      <a:pt x="30" y="6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4" name="Netherlands"/>
              <p:cNvSpPr>
                <a:spLocks noEditPoints="1"/>
              </p:cNvSpPr>
              <p:nvPr/>
            </p:nvSpPr>
            <p:spPr bwMode="auto">
              <a:xfrm>
                <a:off x="4569963" y="4224416"/>
                <a:ext cx="315447" cy="371144"/>
              </a:xfrm>
              <a:custGeom>
                <a:avLst/>
                <a:gdLst>
                  <a:gd name="T0" fmla="*/ 90 w 188"/>
                  <a:gd name="T1" fmla="*/ 35 h 206"/>
                  <a:gd name="T2" fmla="*/ 88 w 188"/>
                  <a:gd name="T3" fmla="*/ 58 h 206"/>
                  <a:gd name="T4" fmla="*/ 83 w 188"/>
                  <a:gd name="T5" fmla="*/ 76 h 206"/>
                  <a:gd name="T6" fmla="*/ 116 w 188"/>
                  <a:gd name="T7" fmla="*/ 61 h 206"/>
                  <a:gd name="T8" fmla="*/ 120 w 188"/>
                  <a:gd name="T9" fmla="*/ 44 h 206"/>
                  <a:gd name="T10" fmla="*/ 107 w 188"/>
                  <a:gd name="T11" fmla="*/ 29 h 206"/>
                  <a:gd name="T12" fmla="*/ 101 w 188"/>
                  <a:gd name="T13" fmla="*/ 28 h 206"/>
                  <a:gd name="T14" fmla="*/ 77 w 188"/>
                  <a:gd name="T15" fmla="*/ 34 h 206"/>
                  <a:gd name="T16" fmla="*/ 65 w 188"/>
                  <a:gd name="T17" fmla="*/ 70 h 206"/>
                  <a:gd name="T18" fmla="*/ 41 w 188"/>
                  <a:gd name="T19" fmla="*/ 103 h 206"/>
                  <a:gd name="T20" fmla="*/ 37 w 188"/>
                  <a:gd name="T21" fmla="*/ 116 h 206"/>
                  <a:gd name="T22" fmla="*/ 31 w 188"/>
                  <a:gd name="T23" fmla="*/ 132 h 206"/>
                  <a:gd name="T24" fmla="*/ 42 w 188"/>
                  <a:gd name="T25" fmla="*/ 135 h 206"/>
                  <a:gd name="T26" fmla="*/ 44 w 188"/>
                  <a:gd name="T27" fmla="*/ 142 h 206"/>
                  <a:gd name="T28" fmla="*/ 5 w 188"/>
                  <a:gd name="T29" fmla="*/ 135 h 206"/>
                  <a:gd name="T30" fmla="*/ 28 w 188"/>
                  <a:gd name="T31" fmla="*/ 143 h 206"/>
                  <a:gd name="T32" fmla="*/ 43 w 188"/>
                  <a:gd name="T33" fmla="*/ 147 h 206"/>
                  <a:gd name="T34" fmla="*/ 50 w 188"/>
                  <a:gd name="T35" fmla="*/ 152 h 206"/>
                  <a:gd name="T36" fmla="*/ 56 w 188"/>
                  <a:gd name="T37" fmla="*/ 147 h 206"/>
                  <a:gd name="T38" fmla="*/ 67 w 188"/>
                  <a:gd name="T39" fmla="*/ 149 h 206"/>
                  <a:gd name="T40" fmla="*/ 87 w 188"/>
                  <a:gd name="T41" fmla="*/ 162 h 206"/>
                  <a:gd name="T42" fmla="*/ 113 w 188"/>
                  <a:gd name="T43" fmla="*/ 176 h 206"/>
                  <a:gd name="T44" fmla="*/ 110 w 188"/>
                  <a:gd name="T45" fmla="*/ 187 h 206"/>
                  <a:gd name="T46" fmla="*/ 121 w 188"/>
                  <a:gd name="T47" fmla="*/ 202 h 206"/>
                  <a:gd name="T48" fmla="*/ 120 w 188"/>
                  <a:gd name="T49" fmla="*/ 198 h 206"/>
                  <a:gd name="T50" fmla="*/ 116 w 188"/>
                  <a:gd name="T51" fmla="*/ 180 h 206"/>
                  <a:gd name="T52" fmla="*/ 130 w 188"/>
                  <a:gd name="T53" fmla="*/ 172 h 206"/>
                  <a:gd name="T54" fmla="*/ 133 w 188"/>
                  <a:gd name="T55" fmla="*/ 157 h 206"/>
                  <a:gd name="T56" fmla="*/ 123 w 188"/>
                  <a:gd name="T57" fmla="*/ 125 h 206"/>
                  <a:gd name="T58" fmla="*/ 133 w 188"/>
                  <a:gd name="T59" fmla="*/ 121 h 206"/>
                  <a:gd name="T60" fmla="*/ 143 w 188"/>
                  <a:gd name="T61" fmla="*/ 122 h 206"/>
                  <a:gd name="T62" fmla="*/ 158 w 188"/>
                  <a:gd name="T63" fmla="*/ 106 h 206"/>
                  <a:gd name="T64" fmla="*/ 159 w 188"/>
                  <a:gd name="T65" fmla="*/ 70 h 206"/>
                  <a:gd name="T66" fmla="*/ 161 w 188"/>
                  <a:gd name="T67" fmla="*/ 64 h 206"/>
                  <a:gd name="T68" fmla="*/ 175 w 188"/>
                  <a:gd name="T69" fmla="*/ 65 h 206"/>
                  <a:gd name="T70" fmla="*/ 187 w 188"/>
                  <a:gd name="T71" fmla="*/ 20 h 206"/>
                  <a:gd name="T72" fmla="*/ 107 w 188"/>
                  <a:gd name="T73" fmla="*/ 18 h 206"/>
                  <a:gd name="T74" fmla="*/ 1 w 188"/>
                  <a:gd name="T75" fmla="*/ 147 h 206"/>
                  <a:gd name="T76" fmla="*/ 21 w 188"/>
                  <a:gd name="T77" fmla="*/ 160 h 206"/>
                  <a:gd name="T78" fmla="*/ 30 w 188"/>
                  <a:gd name="T79" fmla="*/ 147 h 206"/>
                  <a:gd name="T80" fmla="*/ 9 w 188"/>
                  <a:gd name="T81" fmla="*/ 145 h 206"/>
                  <a:gd name="T82" fmla="*/ 1 w 188"/>
                  <a:gd name="T83" fmla="*/ 147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8" h="206">
                    <a:moveTo>
                      <a:pt x="100" y="27"/>
                    </a:moveTo>
                    <a:cubicBezTo>
                      <a:pt x="90" y="35"/>
                      <a:pt x="90" y="35"/>
                      <a:pt x="90" y="35"/>
                    </a:cubicBezTo>
                    <a:cubicBezTo>
                      <a:pt x="84" y="55"/>
                      <a:pt x="109" y="46"/>
                      <a:pt x="100" y="52"/>
                    </a:cubicBezTo>
                    <a:cubicBezTo>
                      <a:pt x="96" y="55"/>
                      <a:pt x="90" y="54"/>
                      <a:pt x="88" y="58"/>
                    </a:cubicBezTo>
                    <a:cubicBezTo>
                      <a:pt x="85" y="62"/>
                      <a:pt x="94" y="66"/>
                      <a:pt x="91" y="69"/>
                    </a:cubicBezTo>
                    <a:cubicBezTo>
                      <a:pt x="89" y="71"/>
                      <a:pt x="82" y="74"/>
                      <a:pt x="83" y="76"/>
                    </a:cubicBezTo>
                    <a:cubicBezTo>
                      <a:pt x="90" y="79"/>
                      <a:pt x="90" y="79"/>
                      <a:pt x="90" y="79"/>
                    </a:cubicBezTo>
                    <a:cubicBezTo>
                      <a:pt x="94" y="79"/>
                      <a:pt x="106" y="56"/>
                      <a:pt x="116" y="61"/>
                    </a:cubicBezTo>
                    <a:cubicBezTo>
                      <a:pt x="119" y="63"/>
                      <a:pt x="114" y="60"/>
                      <a:pt x="113" y="56"/>
                    </a:cubicBezTo>
                    <a:cubicBezTo>
                      <a:pt x="112" y="52"/>
                      <a:pt x="121" y="48"/>
                      <a:pt x="120" y="44"/>
                    </a:cubicBezTo>
                    <a:cubicBezTo>
                      <a:pt x="117" y="39"/>
                      <a:pt x="104" y="46"/>
                      <a:pt x="104" y="40"/>
                    </a:cubicBezTo>
                    <a:cubicBezTo>
                      <a:pt x="104" y="36"/>
                      <a:pt x="107" y="33"/>
                      <a:pt x="107" y="29"/>
                    </a:cubicBezTo>
                    <a:cubicBezTo>
                      <a:pt x="107" y="28"/>
                      <a:pt x="106" y="27"/>
                      <a:pt x="105" y="26"/>
                    </a:cubicBezTo>
                    <a:cubicBezTo>
                      <a:pt x="105" y="25"/>
                      <a:pt x="98" y="31"/>
                      <a:pt x="101" y="28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86" y="36"/>
                      <a:pt x="81" y="34"/>
                      <a:pt x="77" y="34"/>
                    </a:cubicBezTo>
                    <a:cubicBezTo>
                      <a:pt x="75" y="34"/>
                      <a:pt x="74" y="33"/>
                      <a:pt x="73" y="34"/>
                    </a:cubicBezTo>
                    <a:cubicBezTo>
                      <a:pt x="66" y="43"/>
                      <a:pt x="68" y="61"/>
                      <a:pt x="65" y="70"/>
                    </a:cubicBezTo>
                    <a:cubicBezTo>
                      <a:pt x="61" y="79"/>
                      <a:pt x="54" y="89"/>
                      <a:pt x="48" y="95"/>
                    </a:cubicBezTo>
                    <a:cubicBezTo>
                      <a:pt x="46" y="98"/>
                      <a:pt x="44" y="102"/>
                      <a:pt x="41" y="103"/>
                    </a:cubicBezTo>
                    <a:cubicBezTo>
                      <a:pt x="40" y="104"/>
                      <a:pt x="36" y="102"/>
                      <a:pt x="35" y="104"/>
                    </a:cubicBezTo>
                    <a:cubicBezTo>
                      <a:pt x="34" y="108"/>
                      <a:pt x="39" y="112"/>
                      <a:pt x="37" y="116"/>
                    </a:cubicBezTo>
                    <a:cubicBezTo>
                      <a:pt x="32" y="125"/>
                      <a:pt x="14" y="120"/>
                      <a:pt x="18" y="122"/>
                    </a:cubicBezTo>
                    <a:cubicBezTo>
                      <a:pt x="23" y="125"/>
                      <a:pt x="26" y="129"/>
                      <a:pt x="31" y="132"/>
                    </a:cubicBezTo>
                    <a:cubicBezTo>
                      <a:pt x="34" y="132"/>
                      <a:pt x="36" y="129"/>
                      <a:pt x="37" y="129"/>
                    </a:cubicBezTo>
                    <a:cubicBezTo>
                      <a:pt x="40" y="130"/>
                      <a:pt x="44" y="133"/>
                      <a:pt x="42" y="135"/>
                    </a:cubicBezTo>
                    <a:cubicBezTo>
                      <a:pt x="39" y="137"/>
                      <a:pt x="32" y="130"/>
                      <a:pt x="32" y="134"/>
                    </a:cubicBezTo>
                    <a:cubicBezTo>
                      <a:pt x="32" y="139"/>
                      <a:pt x="47" y="138"/>
                      <a:pt x="44" y="142"/>
                    </a:cubicBezTo>
                    <a:cubicBezTo>
                      <a:pt x="36" y="154"/>
                      <a:pt x="28" y="133"/>
                      <a:pt x="24" y="132"/>
                    </a:cubicBezTo>
                    <a:cubicBezTo>
                      <a:pt x="14" y="129"/>
                      <a:pt x="4" y="131"/>
                      <a:pt x="5" y="135"/>
                    </a:cubicBezTo>
                    <a:cubicBezTo>
                      <a:pt x="5" y="136"/>
                      <a:pt x="23" y="147"/>
                      <a:pt x="26" y="147"/>
                    </a:cubicBezTo>
                    <a:cubicBezTo>
                      <a:pt x="27" y="147"/>
                      <a:pt x="27" y="145"/>
                      <a:pt x="28" y="143"/>
                    </a:cubicBezTo>
                    <a:cubicBezTo>
                      <a:pt x="30" y="142"/>
                      <a:pt x="32" y="146"/>
                      <a:pt x="35" y="146"/>
                    </a:cubicBezTo>
                    <a:cubicBezTo>
                      <a:pt x="37" y="147"/>
                      <a:pt x="40" y="145"/>
                      <a:pt x="43" y="147"/>
                    </a:cubicBezTo>
                    <a:cubicBezTo>
                      <a:pt x="44" y="149"/>
                      <a:pt x="45" y="150"/>
                      <a:pt x="45" y="152"/>
                    </a:cubicBezTo>
                    <a:cubicBezTo>
                      <a:pt x="47" y="152"/>
                      <a:pt x="48" y="153"/>
                      <a:pt x="50" y="152"/>
                    </a:cubicBezTo>
                    <a:cubicBezTo>
                      <a:pt x="54" y="152"/>
                      <a:pt x="43" y="139"/>
                      <a:pt x="57" y="143"/>
                    </a:cubicBezTo>
                    <a:cubicBezTo>
                      <a:pt x="58" y="143"/>
                      <a:pt x="56" y="146"/>
                      <a:pt x="56" y="147"/>
                    </a:cubicBezTo>
                    <a:cubicBezTo>
                      <a:pt x="63" y="152"/>
                      <a:pt x="65" y="139"/>
                      <a:pt x="70" y="143"/>
                    </a:cubicBezTo>
                    <a:cubicBezTo>
                      <a:pt x="71" y="145"/>
                      <a:pt x="65" y="148"/>
                      <a:pt x="67" y="149"/>
                    </a:cubicBezTo>
                    <a:cubicBezTo>
                      <a:pt x="80" y="156"/>
                      <a:pt x="69" y="147"/>
                      <a:pt x="79" y="145"/>
                    </a:cubicBezTo>
                    <a:cubicBezTo>
                      <a:pt x="80" y="145"/>
                      <a:pt x="83" y="161"/>
                      <a:pt x="87" y="162"/>
                    </a:cubicBezTo>
                    <a:cubicBezTo>
                      <a:pt x="96" y="163"/>
                      <a:pt x="108" y="163"/>
                      <a:pt x="116" y="172"/>
                    </a:cubicBezTo>
                    <a:cubicBezTo>
                      <a:pt x="116" y="173"/>
                      <a:pt x="113" y="175"/>
                      <a:pt x="113" y="176"/>
                    </a:cubicBezTo>
                    <a:cubicBezTo>
                      <a:pt x="112" y="179"/>
                      <a:pt x="109" y="182"/>
                      <a:pt x="108" y="185"/>
                    </a:cubicBezTo>
                    <a:cubicBezTo>
                      <a:pt x="108" y="186"/>
                      <a:pt x="111" y="186"/>
                      <a:pt x="110" y="187"/>
                    </a:cubicBezTo>
                    <a:cubicBezTo>
                      <a:pt x="110" y="189"/>
                      <a:pt x="107" y="189"/>
                      <a:pt x="107" y="192"/>
                    </a:cubicBezTo>
                    <a:cubicBezTo>
                      <a:pt x="103" y="206"/>
                      <a:pt x="112" y="202"/>
                      <a:pt x="121" y="202"/>
                    </a:cubicBezTo>
                    <a:cubicBezTo>
                      <a:pt x="122" y="202"/>
                      <a:pt x="122" y="202"/>
                      <a:pt x="122" y="202"/>
                    </a:cubicBezTo>
                    <a:cubicBezTo>
                      <a:pt x="121" y="201"/>
                      <a:pt x="120" y="199"/>
                      <a:pt x="120" y="198"/>
                    </a:cubicBezTo>
                    <a:cubicBezTo>
                      <a:pt x="121" y="196"/>
                      <a:pt x="125" y="196"/>
                      <a:pt x="125" y="194"/>
                    </a:cubicBezTo>
                    <a:cubicBezTo>
                      <a:pt x="127" y="184"/>
                      <a:pt x="110" y="181"/>
                      <a:pt x="116" y="180"/>
                    </a:cubicBezTo>
                    <a:cubicBezTo>
                      <a:pt x="117" y="179"/>
                      <a:pt x="118" y="181"/>
                      <a:pt x="120" y="181"/>
                    </a:cubicBezTo>
                    <a:cubicBezTo>
                      <a:pt x="130" y="172"/>
                      <a:pt x="130" y="172"/>
                      <a:pt x="130" y="172"/>
                    </a:cubicBezTo>
                    <a:cubicBezTo>
                      <a:pt x="131" y="169"/>
                      <a:pt x="123" y="172"/>
                      <a:pt x="126" y="168"/>
                    </a:cubicBezTo>
                    <a:cubicBezTo>
                      <a:pt x="127" y="164"/>
                      <a:pt x="131" y="161"/>
                      <a:pt x="133" y="157"/>
                    </a:cubicBezTo>
                    <a:cubicBezTo>
                      <a:pt x="138" y="145"/>
                      <a:pt x="126" y="136"/>
                      <a:pt x="122" y="129"/>
                    </a:cubicBezTo>
                    <a:cubicBezTo>
                      <a:pt x="122" y="128"/>
                      <a:pt x="123" y="126"/>
                      <a:pt x="123" y="125"/>
                    </a:cubicBezTo>
                    <a:cubicBezTo>
                      <a:pt x="123" y="124"/>
                      <a:pt x="122" y="122"/>
                      <a:pt x="123" y="122"/>
                    </a:cubicBezTo>
                    <a:cubicBezTo>
                      <a:pt x="126" y="120"/>
                      <a:pt x="130" y="122"/>
                      <a:pt x="133" y="121"/>
                    </a:cubicBezTo>
                    <a:cubicBezTo>
                      <a:pt x="134" y="120"/>
                      <a:pt x="132" y="117"/>
                      <a:pt x="133" y="117"/>
                    </a:cubicBezTo>
                    <a:cubicBezTo>
                      <a:pt x="137" y="119"/>
                      <a:pt x="139" y="122"/>
                      <a:pt x="143" y="122"/>
                    </a:cubicBezTo>
                    <a:cubicBezTo>
                      <a:pt x="147" y="123"/>
                      <a:pt x="162" y="118"/>
                      <a:pt x="164" y="114"/>
                    </a:cubicBezTo>
                    <a:cubicBezTo>
                      <a:pt x="165" y="110"/>
                      <a:pt x="153" y="109"/>
                      <a:pt x="158" y="106"/>
                    </a:cubicBezTo>
                    <a:cubicBezTo>
                      <a:pt x="167" y="100"/>
                      <a:pt x="178" y="98"/>
                      <a:pt x="176" y="83"/>
                    </a:cubicBezTo>
                    <a:cubicBezTo>
                      <a:pt x="175" y="76"/>
                      <a:pt x="154" y="79"/>
                      <a:pt x="159" y="70"/>
                    </a:cubicBezTo>
                    <a:cubicBezTo>
                      <a:pt x="160" y="69"/>
                      <a:pt x="163" y="70"/>
                      <a:pt x="163" y="69"/>
                    </a:cubicBezTo>
                    <a:cubicBezTo>
                      <a:pt x="163" y="68"/>
                      <a:pt x="160" y="66"/>
                      <a:pt x="161" y="64"/>
                    </a:cubicBezTo>
                    <a:cubicBezTo>
                      <a:pt x="161" y="63"/>
                      <a:pt x="163" y="63"/>
                      <a:pt x="164" y="63"/>
                    </a:cubicBezTo>
                    <a:cubicBezTo>
                      <a:pt x="168" y="63"/>
                      <a:pt x="171" y="65"/>
                      <a:pt x="175" y="65"/>
                    </a:cubicBezTo>
                    <a:cubicBezTo>
                      <a:pt x="180" y="65"/>
                      <a:pt x="176" y="56"/>
                      <a:pt x="177" y="51"/>
                    </a:cubicBezTo>
                    <a:cubicBezTo>
                      <a:pt x="178" y="47"/>
                      <a:pt x="188" y="29"/>
                      <a:pt x="187" y="20"/>
                    </a:cubicBezTo>
                    <a:cubicBezTo>
                      <a:pt x="176" y="25"/>
                      <a:pt x="174" y="4"/>
                      <a:pt x="165" y="2"/>
                    </a:cubicBezTo>
                    <a:cubicBezTo>
                      <a:pt x="156" y="0"/>
                      <a:pt x="112" y="10"/>
                      <a:pt x="107" y="18"/>
                    </a:cubicBezTo>
                    <a:cubicBezTo>
                      <a:pt x="104" y="21"/>
                      <a:pt x="103" y="25"/>
                      <a:pt x="100" y="27"/>
                    </a:cubicBezTo>
                    <a:close/>
                    <a:moveTo>
                      <a:pt x="1" y="147"/>
                    </a:moveTo>
                    <a:cubicBezTo>
                      <a:pt x="0" y="162"/>
                      <a:pt x="12" y="152"/>
                      <a:pt x="21" y="156"/>
                    </a:cubicBezTo>
                    <a:cubicBezTo>
                      <a:pt x="22" y="157"/>
                      <a:pt x="19" y="159"/>
                      <a:pt x="21" y="160"/>
                    </a:cubicBezTo>
                    <a:cubicBezTo>
                      <a:pt x="27" y="165"/>
                      <a:pt x="33" y="157"/>
                      <a:pt x="37" y="153"/>
                    </a:cubicBezTo>
                    <a:cubicBezTo>
                      <a:pt x="35" y="150"/>
                      <a:pt x="31" y="148"/>
                      <a:pt x="30" y="147"/>
                    </a:cubicBezTo>
                    <a:cubicBezTo>
                      <a:pt x="27" y="147"/>
                      <a:pt x="27" y="152"/>
                      <a:pt x="24" y="152"/>
                    </a:cubicBezTo>
                    <a:cubicBezTo>
                      <a:pt x="14" y="152"/>
                      <a:pt x="21" y="146"/>
                      <a:pt x="9" y="145"/>
                    </a:cubicBezTo>
                    <a:cubicBezTo>
                      <a:pt x="6" y="144"/>
                      <a:pt x="4" y="144"/>
                      <a:pt x="0" y="145"/>
                    </a:cubicBezTo>
                    <a:lnTo>
                      <a:pt x="1" y="14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5" name="Slovenia"/>
              <p:cNvSpPr>
                <a:spLocks/>
              </p:cNvSpPr>
              <p:nvPr/>
            </p:nvSpPr>
            <p:spPr bwMode="auto">
              <a:xfrm>
                <a:off x="5377093" y="5092538"/>
                <a:ext cx="275461" cy="207076"/>
              </a:xfrm>
              <a:custGeom>
                <a:avLst/>
                <a:gdLst>
                  <a:gd name="T0" fmla="*/ 165 w 165"/>
                  <a:gd name="T1" fmla="*/ 27 h 115"/>
                  <a:gd name="T2" fmla="*/ 150 w 165"/>
                  <a:gd name="T3" fmla="*/ 25 h 115"/>
                  <a:gd name="T4" fmla="*/ 148 w 165"/>
                  <a:gd name="T5" fmla="*/ 36 h 115"/>
                  <a:gd name="T6" fmla="*/ 139 w 165"/>
                  <a:gd name="T7" fmla="*/ 37 h 115"/>
                  <a:gd name="T8" fmla="*/ 139 w 165"/>
                  <a:gd name="T9" fmla="*/ 41 h 115"/>
                  <a:gd name="T10" fmla="*/ 118 w 165"/>
                  <a:gd name="T11" fmla="*/ 51 h 115"/>
                  <a:gd name="T12" fmla="*/ 122 w 165"/>
                  <a:gd name="T13" fmla="*/ 79 h 115"/>
                  <a:gd name="T14" fmla="*/ 102 w 165"/>
                  <a:gd name="T15" fmla="*/ 88 h 115"/>
                  <a:gd name="T16" fmla="*/ 108 w 165"/>
                  <a:gd name="T17" fmla="*/ 94 h 115"/>
                  <a:gd name="T18" fmla="*/ 103 w 165"/>
                  <a:gd name="T19" fmla="*/ 98 h 115"/>
                  <a:gd name="T20" fmla="*/ 106 w 165"/>
                  <a:gd name="T21" fmla="*/ 109 h 115"/>
                  <a:gd name="T22" fmla="*/ 85 w 165"/>
                  <a:gd name="T23" fmla="*/ 106 h 115"/>
                  <a:gd name="T24" fmla="*/ 79 w 165"/>
                  <a:gd name="T25" fmla="*/ 110 h 115"/>
                  <a:gd name="T26" fmla="*/ 68 w 165"/>
                  <a:gd name="T27" fmla="*/ 99 h 115"/>
                  <a:gd name="T28" fmla="*/ 65 w 165"/>
                  <a:gd name="T29" fmla="*/ 95 h 115"/>
                  <a:gd name="T30" fmla="*/ 61 w 165"/>
                  <a:gd name="T31" fmla="*/ 106 h 115"/>
                  <a:gd name="T32" fmla="*/ 35 w 165"/>
                  <a:gd name="T33" fmla="*/ 108 h 115"/>
                  <a:gd name="T34" fmla="*/ 35 w 165"/>
                  <a:gd name="T35" fmla="*/ 112 h 115"/>
                  <a:gd name="T36" fmla="*/ 15 w 165"/>
                  <a:gd name="T37" fmla="*/ 112 h 115"/>
                  <a:gd name="T38" fmla="*/ 15 w 165"/>
                  <a:gd name="T39" fmla="*/ 112 h 115"/>
                  <a:gd name="T40" fmla="*/ 23 w 165"/>
                  <a:gd name="T41" fmla="*/ 103 h 115"/>
                  <a:gd name="T42" fmla="*/ 14 w 165"/>
                  <a:gd name="T43" fmla="*/ 87 h 115"/>
                  <a:gd name="T44" fmla="*/ 15 w 165"/>
                  <a:gd name="T45" fmla="*/ 75 h 115"/>
                  <a:gd name="T46" fmla="*/ 8 w 165"/>
                  <a:gd name="T47" fmla="*/ 73 h 115"/>
                  <a:gd name="T48" fmla="*/ 16 w 165"/>
                  <a:gd name="T49" fmla="*/ 60 h 115"/>
                  <a:gd name="T50" fmla="*/ 1 w 165"/>
                  <a:gd name="T51" fmla="*/ 52 h 115"/>
                  <a:gd name="T52" fmla="*/ 18 w 165"/>
                  <a:gd name="T53" fmla="*/ 34 h 115"/>
                  <a:gd name="T54" fmla="*/ 17 w 165"/>
                  <a:gd name="T55" fmla="*/ 34 h 115"/>
                  <a:gd name="T56" fmla="*/ 27 w 165"/>
                  <a:gd name="T57" fmla="*/ 35 h 115"/>
                  <a:gd name="T58" fmla="*/ 41 w 165"/>
                  <a:gd name="T59" fmla="*/ 40 h 115"/>
                  <a:gd name="T60" fmla="*/ 55 w 165"/>
                  <a:gd name="T61" fmla="*/ 38 h 115"/>
                  <a:gd name="T62" fmla="*/ 62 w 165"/>
                  <a:gd name="T63" fmla="*/ 42 h 115"/>
                  <a:gd name="T64" fmla="*/ 64 w 165"/>
                  <a:gd name="T65" fmla="*/ 39 h 115"/>
                  <a:gd name="T66" fmla="*/ 74 w 165"/>
                  <a:gd name="T67" fmla="*/ 31 h 115"/>
                  <a:gd name="T68" fmla="*/ 76 w 165"/>
                  <a:gd name="T69" fmla="*/ 24 h 115"/>
                  <a:gd name="T70" fmla="*/ 108 w 165"/>
                  <a:gd name="T71" fmla="*/ 22 h 115"/>
                  <a:gd name="T72" fmla="*/ 116 w 165"/>
                  <a:gd name="T73" fmla="*/ 14 h 115"/>
                  <a:gd name="T74" fmla="*/ 135 w 165"/>
                  <a:gd name="T75" fmla="*/ 16 h 115"/>
                  <a:gd name="T76" fmla="*/ 133 w 165"/>
                  <a:gd name="T77" fmla="*/ 11 h 115"/>
                  <a:gd name="T78" fmla="*/ 147 w 165"/>
                  <a:gd name="T79" fmla="*/ 0 h 115"/>
                  <a:gd name="T80" fmla="*/ 165 w 165"/>
                  <a:gd name="T81" fmla="*/ 2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5" h="115">
                    <a:moveTo>
                      <a:pt x="165" y="27"/>
                    </a:moveTo>
                    <a:cubicBezTo>
                      <a:pt x="161" y="26"/>
                      <a:pt x="152" y="24"/>
                      <a:pt x="150" y="25"/>
                    </a:cubicBezTo>
                    <a:cubicBezTo>
                      <a:pt x="143" y="26"/>
                      <a:pt x="152" y="34"/>
                      <a:pt x="148" y="36"/>
                    </a:cubicBezTo>
                    <a:cubicBezTo>
                      <a:pt x="146" y="37"/>
                      <a:pt x="142" y="35"/>
                      <a:pt x="139" y="37"/>
                    </a:cubicBezTo>
                    <a:cubicBezTo>
                      <a:pt x="138" y="37"/>
                      <a:pt x="140" y="39"/>
                      <a:pt x="139" y="41"/>
                    </a:cubicBezTo>
                    <a:cubicBezTo>
                      <a:pt x="133" y="45"/>
                      <a:pt x="124" y="46"/>
                      <a:pt x="118" y="51"/>
                    </a:cubicBezTo>
                    <a:cubicBezTo>
                      <a:pt x="112" y="57"/>
                      <a:pt x="131" y="73"/>
                      <a:pt x="122" y="79"/>
                    </a:cubicBezTo>
                    <a:cubicBezTo>
                      <a:pt x="103" y="93"/>
                      <a:pt x="115" y="69"/>
                      <a:pt x="102" y="88"/>
                    </a:cubicBezTo>
                    <a:cubicBezTo>
                      <a:pt x="100" y="90"/>
                      <a:pt x="107" y="91"/>
                      <a:pt x="108" y="94"/>
                    </a:cubicBezTo>
                    <a:cubicBezTo>
                      <a:pt x="109" y="96"/>
                      <a:pt x="103" y="95"/>
                      <a:pt x="103" y="98"/>
                    </a:cubicBezTo>
                    <a:cubicBezTo>
                      <a:pt x="103" y="99"/>
                      <a:pt x="108" y="106"/>
                      <a:pt x="106" y="109"/>
                    </a:cubicBezTo>
                    <a:cubicBezTo>
                      <a:pt x="100" y="115"/>
                      <a:pt x="91" y="106"/>
                      <a:pt x="85" y="106"/>
                    </a:cubicBezTo>
                    <a:cubicBezTo>
                      <a:pt x="77" y="106"/>
                      <a:pt x="93" y="114"/>
                      <a:pt x="79" y="110"/>
                    </a:cubicBezTo>
                    <a:cubicBezTo>
                      <a:pt x="75" y="108"/>
                      <a:pt x="70" y="102"/>
                      <a:pt x="68" y="99"/>
                    </a:cubicBezTo>
                    <a:cubicBezTo>
                      <a:pt x="67" y="98"/>
                      <a:pt x="66" y="94"/>
                      <a:pt x="65" y="95"/>
                    </a:cubicBezTo>
                    <a:cubicBezTo>
                      <a:pt x="63" y="99"/>
                      <a:pt x="64" y="103"/>
                      <a:pt x="61" y="106"/>
                    </a:cubicBezTo>
                    <a:cubicBezTo>
                      <a:pt x="54" y="115"/>
                      <a:pt x="44" y="106"/>
                      <a:pt x="35" y="108"/>
                    </a:cubicBezTo>
                    <a:cubicBezTo>
                      <a:pt x="34" y="109"/>
                      <a:pt x="36" y="111"/>
                      <a:pt x="35" y="112"/>
                    </a:cubicBezTo>
                    <a:cubicBezTo>
                      <a:pt x="30" y="115"/>
                      <a:pt x="20" y="115"/>
                      <a:pt x="15" y="112"/>
                    </a:cubicBezTo>
                    <a:cubicBezTo>
                      <a:pt x="15" y="112"/>
                      <a:pt x="15" y="112"/>
                      <a:pt x="15" y="112"/>
                    </a:cubicBezTo>
                    <a:cubicBezTo>
                      <a:pt x="18" y="109"/>
                      <a:pt x="22" y="106"/>
                      <a:pt x="23" y="103"/>
                    </a:cubicBezTo>
                    <a:cubicBezTo>
                      <a:pt x="43" y="104"/>
                      <a:pt x="20" y="91"/>
                      <a:pt x="14" y="87"/>
                    </a:cubicBezTo>
                    <a:cubicBezTo>
                      <a:pt x="10" y="85"/>
                      <a:pt x="17" y="78"/>
                      <a:pt x="15" y="75"/>
                    </a:cubicBezTo>
                    <a:cubicBezTo>
                      <a:pt x="14" y="72"/>
                      <a:pt x="5" y="80"/>
                      <a:pt x="8" y="73"/>
                    </a:cubicBezTo>
                    <a:cubicBezTo>
                      <a:pt x="9" y="68"/>
                      <a:pt x="20" y="63"/>
                      <a:pt x="16" y="60"/>
                    </a:cubicBezTo>
                    <a:cubicBezTo>
                      <a:pt x="13" y="57"/>
                      <a:pt x="0" y="59"/>
                      <a:pt x="1" y="52"/>
                    </a:cubicBezTo>
                    <a:cubicBezTo>
                      <a:pt x="2" y="43"/>
                      <a:pt x="17" y="45"/>
                      <a:pt x="18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20" y="34"/>
                      <a:pt x="23" y="35"/>
                      <a:pt x="27" y="35"/>
                    </a:cubicBezTo>
                    <a:cubicBezTo>
                      <a:pt x="32" y="36"/>
                      <a:pt x="36" y="39"/>
                      <a:pt x="41" y="40"/>
                    </a:cubicBezTo>
                    <a:cubicBezTo>
                      <a:pt x="45" y="41"/>
                      <a:pt x="50" y="37"/>
                      <a:pt x="55" y="38"/>
                    </a:cubicBezTo>
                    <a:cubicBezTo>
                      <a:pt x="57" y="38"/>
                      <a:pt x="59" y="42"/>
                      <a:pt x="62" y="42"/>
                    </a:cubicBezTo>
                    <a:cubicBezTo>
                      <a:pt x="63" y="43"/>
                      <a:pt x="62" y="39"/>
                      <a:pt x="64" y="39"/>
                    </a:cubicBezTo>
                    <a:cubicBezTo>
                      <a:pt x="66" y="36"/>
                      <a:pt x="71" y="35"/>
                      <a:pt x="74" y="31"/>
                    </a:cubicBezTo>
                    <a:cubicBezTo>
                      <a:pt x="76" y="30"/>
                      <a:pt x="74" y="26"/>
                      <a:pt x="76" y="24"/>
                    </a:cubicBezTo>
                    <a:cubicBezTo>
                      <a:pt x="87" y="16"/>
                      <a:pt x="98" y="26"/>
                      <a:pt x="108" y="22"/>
                    </a:cubicBezTo>
                    <a:cubicBezTo>
                      <a:pt x="112" y="20"/>
                      <a:pt x="112" y="15"/>
                      <a:pt x="116" y="14"/>
                    </a:cubicBezTo>
                    <a:cubicBezTo>
                      <a:pt x="116" y="13"/>
                      <a:pt x="135" y="16"/>
                      <a:pt x="135" y="16"/>
                    </a:cubicBezTo>
                    <a:cubicBezTo>
                      <a:pt x="137" y="15"/>
                      <a:pt x="134" y="13"/>
                      <a:pt x="133" y="11"/>
                    </a:cubicBezTo>
                    <a:cubicBezTo>
                      <a:pt x="131" y="2"/>
                      <a:pt x="138" y="0"/>
                      <a:pt x="147" y="0"/>
                    </a:cubicBezTo>
                    <a:cubicBezTo>
                      <a:pt x="149" y="0"/>
                      <a:pt x="154" y="17"/>
                      <a:pt x="165" y="27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6" name="Croatia"/>
              <p:cNvSpPr>
                <a:spLocks noEditPoints="1"/>
              </p:cNvSpPr>
              <p:nvPr/>
            </p:nvSpPr>
            <p:spPr bwMode="auto">
              <a:xfrm>
                <a:off x="5393383" y="5135546"/>
                <a:ext cx="519821" cy="522467"/>
              </a:xfrm>
              <a:custGeom>
                <a:avLst/>
                <a:gdLst>
                  <a:gd name="T0" fmla="*/ 253 w 311"/>
                  <a:gd name="T1" fmla="*/ 269 h 290"/>
                  <a:gd name="T2" fmla="*/ 239 w 311"/>
                  <a:gd name="T3" fmla="*/ 263 h 290"/>
                  <a:gd name="T4" fmla="*/ 209 w 311"/>
                  <a:gd name="T5" fmla="*/ 256 h 290"/>
                  <a:gd name="T6" fmla="*/ 200 w 311"/>
                  <a:gd name="T7" fmla="*/ 258 h 290"/>
                  <a:gd name="T8" fmla="*/ 223 w 311"/>
                  <a:gd name="T9" fmla="*/ 262 h 290"/>
                  <a:gd name="T10" fmla="*/ 270 w 311"/>
                  <a:gd name="T11" fmla="*/ 283 h 290"/>
                  <a:gd name="T12" fmla="*/ 299 w 311"/>
                  <a:gd name="T13" fmla="*/ 101 h 290"/>
                  <a:gd name="T14" fmla="*/ 302 w 311"/>
                  <a:gd name="T15" fmla="*/ 83 h 290"/>
                  <a:gd name="T16" fmla="*/ 289 w 311"/>
                  <a:gd name="T17" fmla="*/ 68 h 290"/>
                  <a:gd name="T18" fmla="*/ 292 w 311"/>
                  <a:gd name="T19" fmla="*/ 61 h 290"/>
                  <a:gd name="T20" fmla="*/ 274 w 311"/>
                  <a:gd name="T21" fmla="*/ 33 h 290"/>
                  <a:gd name="T22" fmla="*/ 262 w 311"/>
                  <a:gd name="T23" fmla="*/ 43 h 290"/>
                  <a:gd name="T24" fmla="*/ 205 w 311"/>
                  <a:gd name="T25" fmla="*/ 39 h 290"/>
                  <a:gd name="T26" fmla="*/ 140 w 311"/>
                  <a:gd name="T27" fmla="*/ 1 h 290"/>
                  <a:gd name="T28" fmla="*/ 129 w 311"/>
                  <a:gd name="T29" fmla="*/ 13 h 290"/>
                  <a:gd name="T30" fmla="*/ 112 w 311"/>
                  <a:gd name="T31" fmla="*/ 55 h 290"/>
                  <a:gd name="T32" fmla="*/ 98 w 311"/>
                  <a:gd name="T33" fmla="*/ 70 h 290"/>
                  <a:gd name="T34" fmla="*/ 75 w 311"/>
                  <a:gd name="T35" fmla="*/ 82 h 290"/>
                  <a:gd name="T36" fmla="*/ 55 w 311"/>
                  <a:gd name="T37" fmla="*/ 71 h 290"/>
                  <a:gd name="T38" fmla="*/ 25 w 311"/>
                  <a:gd name="T39" fmla="*/ 84 h 290"/>
                  <a:gd name="T40" fmla="*/ 0 w 311"/>
                  <a:gd name="T41" fmla="*/ 88 h 290"/>
                  <a:gd name="T42" fmla="*/ 7 w 311"/>
                  <a:gd name="T43" fmla="*/ 114 h 290"/>
                  <a:gd name="T44" fmla="*/ 24 w 311"/>
                  <a:gd name="T45" fmla="*/ 140 h 290"/>
                  <a:gd name="T46" fmla="*/ 30 w 311"/>
                  <a:gd name="T47" fmla="*/ 122 h 290"/>
                  <a:gd name="T48" fmla="*/ 38 w 311"/>
                  <a:gd name="T49" fmla="*/ 114 h 290"/>
                  <a:gd name="T50" fmla="*/ 38 w 311"/>
                  <a:gd name="T51" fmla="*/ 113 h 290"/>
                  <a:gd name="T52" fmla="*/ 72 w 311"/>
                  <a:gd name="T53" fmla="*/ 111 h 290"/>
                  <a:gd name="T54" fmla="*/ 113 w 311"/>
                  <a:gd name="T55" fmla="*/ 172 h 290"/>
                  <a:gd name="T56" fmla="*/ 123 w 311"/>
                  <a:gd name="T57" fmla="*/ 205 h 290"/>
                  <a:gd name="T58" fmla="*/ 138 w 311"/>
                  <a:gd name="T59" fmla="*/ 213 h 290"/>
                  <a:gd name="T60" fmla="*/ 176 w 311"/>
                  <a:gd name="T61" fmla="*/ 228 h 290"/>
                  <a:gd name="T62" fmla="*/ 207 w 311"/>
                  <a:gd name="T63" fmla="*/ 245 h 290"/>
                  <a:gd name="T64" fmla="*/ 226 w 311"/>
                  <a:gd name="T65" fmla="*/ 253 h 290"/>
                  <a:gd name="T66" fmla="*/ 213 w 311"/>
                  <a:gd name="T67" fmla="*/ 234 h 290"/>
                  <a:gd name="T68" fmla="*/ 172 w 311"/>
                  <a:gd name="T69" fmla="*/ 190 h 290"/>
                  <a:gd name="T70" fmla="*/ 146 w 311"/>
                  <a:gd name="T71" fmla="*/ 174 h 290"/>
                  <a:gd name="T72" fmla="*/ 132 w 311"/>
                  <a:gd name="T73" fmla="*/ 138 h 290"/>
                  <a:gd name="T74" fmla="*/ 149 w 311"/>
                  <a:gd name="T75" fmla="*/ 114 h 290"/>
                  <a:gd name="T76" fmla="*/ 158 w 311"/>
                  <a:gd name="T77" fmla="*/ 98 h 290"/>
                  <a:gd name="T78" fmla="*/ 180 w 311"/>
                  <a:gd name="T79" fmla="*/ 91 h 290"/>
                  <a:gd name="T80" fmla="*/ 201 w 311"/>
                  <a:gd name="T81" fmla="*/ 95 h 290"/>
                  <a:gd name="T82" fmla="*/ 234 w 311"/>
                  <a:gd name="T83" fmla="*/ 99 h 290"/>
                  <a:gd name="T84" fmla="*/ 249 w 311"/>
                  <a:gd name="T85" fmla="*/ 94 h 290"/>
                  <a:gd name="T86" fmla="*/ 267 w 311"/>
                  <a:gd name="T87" fmla="*/ 94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1" h="290">
                    <a:moveTo>
                      <a:pt x="284" y="290"/>
                    </a:moveTo>
                    <a:cubicBezTo>
                      <a:pt x="283" y="286"/>
                      <a:pt x="283" y="286"/>
                      <a:pt x="283" y="286"/>
                    </a:cubicBezTo>
                    <a:cubicBezTo>
                      <a:pt x="276" y="275"/>
                      <a:pt x="265" y="278"/>
                      <a:pt x="253" y="269"/>
                    </a:cubicBezTo>
                    <a:cubicBezTo>
                      <a:pt x="249" y="266"/>
                      <a:pt x="248" y="261"/>
                      <a:pt x="244" y="260"/>
                    </a:cubicBezTo>
                    <a:cubicBezTo>
                      <a:pt x="242" y="259"/>
                      <a:pt x="239" y="261"/>
                      <a:pt x="236" y="262"/>
                    </a:cubicBezTo>
                    <a:cubicBezTo>
                      <a:pt x="237" y="262"/>
                      <a:pt x="238" y="262"/>
                      <a:pt x="239" y="263"/>
                    </a:cubicBezTo>
                    <a:cubicBezTo>
                      <a:pt x="240" y="263"/>
                      <a:pt x="241" y="267"/>
                      <a:pt x="240" y="267"/>
                    </a:cubicBezTo>
                    <a:cubicBezTo>
                      <a:pt x="231" y="266"/>
                      <a:pt x="224" y="258"/>
                      <a:pt x="215" y="256"/>
                    </a:cubicBezTo>
                    <a:cubicBezTo>
                      <a:pt x="213" y="256"/>
                      <a:pt x="211" y="256"/>
                      <a:pt x="209" y="256"/>
                    </a:cubicBezTo>
                    <a:cubicBezTo>
                      <a:pt x="207" y="257"/>
                      <a:pt x="205" y="257"/>
                      <a:pt x="203" y="256"/>
                    </a:cubicBezTo>
                    <a:cubicBezTo>
                      <a:pt x="202" y="256"/>
                      <a:pt x="201" y="254"/>
                      <a:pt x="200" y="254"/>
                    </a:cubicBezTo>
                    <a:cubicBezTo>
                      <a:pt x="199" y="255"/>
                      <a:pt x="199" y="258"/>
                      <a:pt x="200" y="258"/>
                    </a:cubicBezTo>
                    <a:cubicBezTo>
                      <a:pt x="202" y="259"/>
                      <a:pt x="204" y="259"/>
                      <a:pt x="206" y="258"/>
                    </a:cubicBezTo>
                    <a:cubicBezTo>
                      <a:pt x="208" y="258"/>
                      <a:pt x="210" y="258"/>
                      <a:pt x="211" y="258"/>
                    </a:cubicBezTo>
                    <a:cubicBezTo>
                      <a:pt x="215" y="259"/>
                      <a:pt x="219" y="260"/>
                      <a:pt x="223" y="262"/>
                    </a:cubicBezTo>
                    <a:cubicBezTo>
                      <a:pt x="224" y="263"/>
                      <a:pt x="223" y="265"/>
                      <a:pt x="224" y="265"/>
                    </a:cubicBezTo>
                    <a:cubicBezTo>
                      <a:pt x="232" y="270"/>
                      <a:pt x="236" y="269"/>
                      <a:pt x="240" y="269"/>
                    </a:cubicBezTo>
                    <a:cubicBezTo>
                      <a:pt x="246" y="269"/>
                      <a:pt x="252" y="269"/>
                      <a:pt x="270" y="283"/>
                    </a:cubicBezTo>
                    <a:cubicBezTo>
                      <a:pt x="274" y="286"/>
                      <a:pt x="279" y="289"/>
                      <a:pt x="284" y="290"/>
                    </a:cubicBezTo>
                    <a:moveTo>
                      <a:pt x="293" y="108"/>
                    </a:moveTo>
                    <a:cubicBezTo>
                      <a:pt x="288" y="103"/>
                      <a:pt x="297" y="105"/>
                      <a:pt x="299" y="101"/>
                    </a:cubicBezTo>
                    <a:cubicBezTo>
                      <a:pt x="300" y="101"/>
                      <a:pt x="300" y="100"/>
                      <a:pt x="299" y="99"/>
                    </a:cubicBezTo>
                    <a:cubicBezTo>
                      <a:pt x="292" y="92"/>
                      <a:pt x="297" y="89"/>
                      <a:pt x="297" y="82"/>
                    </a:cubicBezTo>
                    <a:cubicBezTo>
                      <a:pt x="298" y="81"/>
                      <a:pt x="300" y="82"/>
                      <a:pt x="302" y="83"/>
                    </a:cubicBezTo>
                    <a:cubicBezTo>
                      <a:pt x="307" y="84"/>
                      <a:pt x="311" y="86"/>
                      <a:pt x="310" y="79"/>
                    </a:cubicBezTo>
                    <a:cubicBezTo>
                      <a:pt x="303" y="79"/>
                      <a:pt x="293" y="76"/>
                      <a:pt x="287" y="72"/>
                    </a:cubicBezTo>
                    <a:cubicBezTo>
                      <a:pt x="284" y="70"/>
                      <a:pt x="289" y="69"/>
                      <a:pt x="289" y="68"/>
                    </a:cubicBezTo>
                    <a:cubicBezTo>
                      <a:pt x="289" y="66"/>
                      <a:pt x="283" y="65"/>
                      <a:pt x="287" y="62"/>
                    </a:cubicBezTo>
                    <a:cubicBezTo>
                      <a:pt x="287" y="62"/>
                      <a:pt x="288" y="62"/>
                      <a:pt x="288" y="62"/>
                    </a:cubicBezTo>
                    <a:cubicBezTo>
                      <a:pt x="290" y="63"/>
                      <a:pt x="291" y="63"/>
                      <a:pt x="292" y="61"/>
                    </a:cubicBezTo>
                    <a:cubicBezTo>
                      <a:pt x="292" y="58"/>
                      <a:pt x="289" y="58"/>
                      <a:pt x="286" y="59"/>
                    </a:cubicBezTo>
                    <a:cubicBezTo>
                      <a:pt x="283" y="59"/>
                      <a:pt x="280" y="59"/>
                      <a:pt x="280" y="57"/>
                    </a:cubicBezTo>
                    <a:cubicBezTo>
                      <a:pt x="282" y="44"/>
                      <a:pt x="284" y="47"/>
                      <a:pt x="274" y="33"/>
                    </a:cubicBezTo>
                    <a:cubicBezTo>
                      <a:pt x="274" y="32"/>
                      <a:pt x="274" y="32"/>
                      <a:pt x="274" y="32"/>
                    </a:cubicBezTo>
                    <a:cubicBezTo>
                      <a:pt x="272" y="33"/>
                      <a:pt x="270" y="33"/>
                      <a:pt x="267" y="33"/>
                    </a:cubicBezTo>
                    <a:cubicBezTo>
                      <a:pt x="263" y="33"/>
                      <a:pt x="263" y="41"/>
                      <a:pt x="262" y="43"/>
                    </a:cubicBezTo>
                    <a:cubicBezTo>
                      <a:pt x="254" y="49"/>
                      <a:pt x="230" y="49"/>
                      <a:pt x="222" y="46"/>
                    </a:cubicBezTo>
                    <a:cubicBezTo>
                      <a:pt x="218" y="44"/>
                      <a:pt x="214" y="40"/>
                      <a:pt x="210" y="39"/>
                    </a:cubicBezTo>
                    <a:cubicBezTo>
                      <a:pt x="209" y="38"/>
                      <a:pt x="208" y="38"/>
                      <a:pt x="205" y="39"/>
                    </a:cubicBezTo>
                    <a:cubicBezTo>
                      <a:pt x="202" y="39"/>
                      <a:pt x="197" y="39"/>
                      <a:pt x="196" y="37"/>
                    </a:cubicBezTo>
                    <a:cubicBezTo>
                      <a:pt x="184" y="22"/>
                      <a:pt x="171" y="15"/>
                      <a:pt x="155" y="3"/>
                    </a:cubicBezTo>
                    <a:cubicBezTo>
                      <a:pt x="151" y="2"/>
                      <a:pt x="142" y="0"/>
                      <a:pt x="140" y="1"/>
                    </a:cubicBezTo>
                    <a:cubicBezTo>
                      <a:pt x="133" y="2"/>
                      <a:pt x="142" y="10"/>
                      <a:pt x="138" y="12"/>
                    </a:cubicBezTo>
                    <a:cubicBezTo>
                      <a:pt x="137" y="13"/>
                      <a:pt x="135" y="12"/>
                      <a:pt x="134" y="12"/>
                    </a:cubicBezTo>
                    <a:cubicBezTo>
                      <a:pt x="132" y="12"/>
                      <a:pt x="131" y="12"/>
                      <a:pt x="129" y="13"/>
                    </a:cubicBezTo>
                    <a:cubicBezTo>
                      <a:pt x="128" y="13"/>
                      <a:pt x="130" y="15"/>
                      <a:pt x="129" y="17"/>
                    </a:cubicBezTo>
                    <a:cubicBezTo>
                      <a:pt x="123" y="21"/>
                      <a:pt x="114" y="22"/>
                      <a:pt x="108" y="27"/>
                    </a:cubicBezTo>
                    <a:cubicBezTo>
                      <a:pt x="102" y="33"/>
                      <a:pt x="121" y="49"/>
                      <a:pt x="112" y="55"/>
                    </a:cubicBezTo>
                    <a:cubicBezTo>
                      <a:pt x="103" y="62"/>
                      <a:pt x="101" y="60"/>
                      <a:pt x="100" y="58"/>
                    </a:cubicBezTo>
                    <a:cubicBezTo>
                      <a:pt x="99" y="56"/>
                      <a:pt x="99" y="54"/>
                      <a:pt x="92" y="64"/>
                    </a:cubicBezTo>
                    <a:cubicBezTo>
                      <a:pt x="90" y="66"/>
                      <a:pt x="97" y="67"/>
                      <a:pt x="98" y="70"/>
                    </a:cubicBezTo>
                    <a:cubicBezTo>
                      <a:pt x="99" y="72"/>
                      <a:pt x="93" y="71"/>
                      <a:pt x="93" y="74"/>
                    </a:cubicBezTo>
                    <a:cubicBezTo>
                      <a:pt x="93" y="75"/>
                      <a:pt x="98" y="82"/>
                      <a:pt x="96" y="85"/>
                    </a:cubicBezTo>
                    <a:cubicBezTo>
                      <a:pt x="90" y="91"/>
                      <a:pt x="81" y="82"/>
                      <a:pt x="75" y="82"/>
                    </a:cubicBezTo>
                    <a:cubicBezTo>
                      <a:pt x="67" y="82"/>
                      <a:pt x="83" y="90"/>
                      <a:pt x="69" y="86"/>
                    </a:cubicBezTo>
                    <a:cubicBezTo>
                      <a:pt x="65" y="84"/>
                      <a:pt x="60" y="78"/>
                      <a:pt x="58" y="75"/>
                    </a:cubicBezTo>
                    <a:cubicBezTo>
                      <a:pt x="57" y="74"/>
                      <a:pt x="56" y="70"/>
                      <a:pt x="55" y="71"/>
                    </a:cubicBezTo>
                    <a:cubicBezTo>
                      <a:pt x="53" y="75"/>
                      <a:pt x="54" y="79"/>
                      <a:pt x="51" y="82"/>
                    </a:cubicBezTo>
                    <a:cubicBezTo>
                      <a:pt x="47" y="87"/>
                      <a:pt x="41" y="86"/>
                      <a:pt x="36" y="85"/>
                    </a:cubicBezTo>
                    <a:cubicBezTo>
                      <a:pt x="32" y="84"/>
                      <a:pt x="29" y="83"/>
                      <a:pt x="25" y="84"/>
                    </a:cubicBezTo>
                    <a:cubicBezTo>
                      <a:pt x="24" y="85"/>
                      <a:pt x="26" y="87"/>
                      <a:pt x="25" y="88"/>
                    </a:cubicBezTo>
                    <a:cubicBezTo>
                      <a:pt x="20" y="91"/>
                      <a:pt x="10" y="91"/>
                      <a:pt x="5" y="88"/>
                    </a:cubicBezTo>
                    <a:cubicBezTo>
                      <a:pt x="3" y="88"/>
                      <a:pt x="0" y="87"/>
                      <a:pt x="0" y="88"/>
                    </a:cubicBezTo>
                    <a:cubicBezTo>
                      <a:pt x="0" y="93"/>
                      <a:pt x="4" y="96"/>
                      <a:pt x="6" y="100"/>
                    </a:cubicBezTo>
                    <a:cubicBezTo>
                      <a:pt x="6" y="101"/>
                      <a:pt x="5" y="101"/>
                      <a:pt x="5" y="101"/>
                    </a:cubicBezTo>
                    <a:cubicBezTo>
                      <a:pt x="5" y="106"/>
                      <a:pt x="4" y="110"/>
                      <a:pt x="7" y="114"/>
                    </a:cubicBezTo>
                    <a:cubicBezTo>
                      <a:pt x="7" y="114"/>
                      <a:pt x="7" y="114"/>
                      <a:pt x="7" y="114"/>
                    </a:cubicBezTo>
                    <a:cubicBezTo>
                      <a:pt x="5" y="118"/>
                      <a:pt x="14" y="122"/>
                      <a:pt x="17" y="126"/>
                    </a:cubicBezTo>
                    <a:cubicBezTo>
                      <a:pt x="19" y="129"/>
                      <a:pt x="21" y="144"/>
                      <a:pt x="24" y="140"/>
                    </a:cubicBezTo>
                    <a:cubicBezTo>
                      <a:pt x="26" y="137"/>
                      <a:pt x="28" y="133"/>
                      <a:pt x="30" y="129"/>
                    </a:cubicBezTo>
                    <a:cubicBezTo>
                      <a:pt x="31" y="127"/>
                      <a:pt x="32" y="125"/>
                      <a:pt x="32" y="123"/>
                    </a:cubicBezTo>
                    <a:cubicBezTo>
                      <a:pt x="32" y="123"/>
                      <a:pt x="30" y="123"/>
                      <a:pt x="30" y="122"/>
                    </a:cubicBezTo>
                    <a:cubicBezTo>
                      <a:pt x="30" y="122"/>
                      <a:pt x="30" y="119"/>
                      <a:pt x="30" y="120"/>
                    </a:cubicBezTo>
                    <a:cubicBezTo>
                      <a:pt x="33" y="121"/>
                      <a:pt x="31" y="134"/>
                      <a:pt x="37" y="123"/>
                    </a:cubicBezTo>
                    <a:cubicBezTo>
                      <a:pt x="38" y="121"/>
                      <a:pt x="38" y="118"/>
                      <a:pt x="38" y="114"/>
                    </a:cubicBezTo>
                    <a:cubicBezTo>
                      <a:pt x="38" y="114"/>
                      <a:pt x="37" y="113"/>
                      <a:pt x="37" y="112"/>
                    </a:cubicBezTo>
                    <a:cubicBezTo>
                      <a:pt x="37" y="112"/>
                      <a:pt x="37" y="112"/>
                      <a:pt x="38" y="113"/>
                    </a:cubicBezTo>
                    <a:cubicBezTo>
                      <a:pt x="38" y="113"/>
                      <a:pt x="38" y="114"/>
                      <a:pt x="38" y="113"/>
                    </a:cubicBezTo>
                    <a:cubicBezTo>
                      <a:pt x="43" y="111"/>
                      <a:pt x="39" y="96"/>
                      <a:pt x="44" y="96"/>
                    </a:cubicBezTo>
                    <a:cubicBezTo>
                      <a:pt x="60" y="95"/>
                      <a:pt x="55" y="101"/>
                      <a:pt x="65" y="109"/>
                    </a:cubicBezTo>
                    <a:cubicBezTo>
                      <a:pt x="67" y="111"/>
                      <a:pt x="71" y="109"/>
                      <a:pt x="72" y="111"/>
                    </a:cubicBezTo>
                    <a:cubicBezTo>
                      <a:pt x="82" y="123"/>
                      <a:pt x="71" y="138"/>
                      <a:pt x="82" y="150"/>
                    </a:cubicBezTo>
                    <a:cubicBezTo>
                      <a:pt x="85" y="154"/>
                      <a:pt x="95" y="162"/>
                      <a:pt x="99" y="165"/>
                    </a:cubicBezTo>
                    <a:cubicBezTo>
                      <a:pt x="103" y="168"/>
                      <a:pt x="118" y="170"/>
                      <a:pt x="113" y="172"/>
                    </a:cubicBezTo>
                    <a:cubicBezTo>
                      <a:pt x="110" y="172"/>
                      <a:pt x="107" y="171"/>
                      <a:pt x="104" y="170"/>
                    </a:cubicBezTo>
                    <a:cubicBezTo>
                      <a:pt x="97" y="167"/>
                      <a:pt x="91" y="164"/>
                      <a:pt x="93" y="179"/>
                    </a:cubicBezTo>
                    <a:cubicBezTo>
                      <a:pt x="93" y="186"/>
                      <a:pt x="119" y="200"/>
                      <a:pt x="123" y="205"/>
                    </a:cubicBezTo>
                    <a:cubicBezTo>
                      <a:pt x="124" y="206"/>
                      <a:pt x="123" y="205"/>
                      <a:pt x="121" y="205"/>
                    </a:cubicBezTo>
                    <a:cubicBezTo>
                      <a:pt x="120" y="205"/>
                      <a:pt x="119" y="204"/>
                      <a:pt x="120" y="204"/>
                    </a:cubicBezTo>
                    <a:cubicBezTo>
                      <a:pt x="123" y="207"/>
                      <a:pt x="138" y="211"/>
                      <a:pt x="138" y="213"/>
                    </a:cubicBezTo>
                    <a:cubicBezTo>
                      <a:pt x="140" y="217"/>
                      <a:pt x="136" y="223"/>
                      <a:pt x="139" y="226"/>
                    </a:cubicBezTo>
                    <a:cubicBezTo>
                      <a:pt x="141" y="228"/>
                      <a:pt x="158" y="221"/>
                      <a:pt x="159" y="221"/>
                    </a:cubicBezTo>
                    <a:cubicBezTo>
                      <a:pt x="170" y="219"/>
                      <a:pt x="162" y="223"/>
                      <a:pt x="176" y="228"/>
                    </a:cubicBezTo>
                    <a:cubicBezTo>
                      <a:pt x="178" y="229"/>
                      <a:pt x="181" y="229"/>
                      <a:pt x="183" y="229"/>
                    </a:cubicBezTo>
                    <a:cubicBezTo>
                      <a:pt x="185" y="228"/>
                      <a:pt x="188" y="228"/>
                      <a:pt x="191" y="229"/>
                    </a:cubicBezTo>
                    <a:cubicBezTo>
                      <a:pt x="197" y="232"/>
                      <a:pt x="201" y="242"/>
                      <a:pt x="207" y="245"/>
                    </a:cubicBezTo>
                    <a:cubicBezTo>
                      <a:pt x="215" y="248"/>
                      <a:pt x="220" y="251"/>
                      <a:pt x="223" y="253"/>
                    </a:cubicBezTo>
                    <a:cubicBezTo>
                      <a:pt x="223" y="254"/>
                      <a:pt x="223" y="253"/>
                      <a:pt x="223" y="253"/>
                    </a:cubicBezTo>
                    <a:cubicBezTo>
                      <a:pt x="224" y="253"/>
                      <a:pt x="226" y="252"/>
                      <a:pt x="226" y="253"/>
                    </a:cubicBezTo>
                    <a:cubicBezTo>
                      <a:pt x="228" y="257"/>
                      <a:pt x="225" y="257"/>
                      <a:pt x="230" y="259"/>
                    </a:cubicBezTo>
                    <a:cubicBezTo>
                      <a:pt x="232" y="258"/>
                      <a:pt x="236" y="258"/>
                      <a:pt x="236" y="255"/>
                    </a:cubicBezTo>
                    <a:cubicBezTo>
                      <a:pt x="239" y="248"/>
                      <a:pt x="215" y="238"/>
                      <a:pt x="213" y="234"/>
                    </a:cubicBezTo>
                    <a:cubicBezTo>
                      <a:pt x="210" y="231"/>
                      <a:pt x="212" y="226"/>
                      <a:pt x="210" y="222"/>
                    </a:cubicBezTo>
                    <a:cubicBezTo>
                      <a:pt x="208" y="220"/>
                      <a:pt x="204" y="221"/>
                      <a:pt x="201" y="220"/>
                    </a:cubicBezTo>
                    <a:cubicBezTo>
                      <a:pt x="189" y="212"/>
                      <a:pt x="182" y="199"/>
                      <a:pt x="172" y="190"/>
                    </a:cubicBezTo>
                    <a:cubicBezTo>
                      <a:pt x="168" y="188"/>
                      <a:pt x="155" y="175"/>
                      <a:pt x="151" y="173"/>
                    </a:cubicBezTo>
                    <a:cubicBezTo>
                      <a:pt x="151" y="173"/>
                      <a:pt x="150" y="173"/>
                      <a:pt x="149" y="174"/>
                    </a:cubicBezTo>
                    <a:cubicBezTo>
                      <a:pt x="148" y="174"/>
                      <a:pt x="147" y="174"/>
                      <a:pt x="146" y="174"/>
                    </a:cubicBezTo>
                    <a:cubicBezTo>
                      <a:pt x="143" y="171"/>
                      <a:pt x="150" y="165"/>
                      <a:pt x="150" y="164"/>
                    </a:cubicBezTo>
                    <a:cubicBezTo>
                      <a:pt x="149" y="161"/>
                      <a:pt x="146" y="161"/>
                      <a:pt x="145" y="159"/>
                    </a:cubicBezTo>
                    <a:cubicBezTo>
                      <a:pt x="140" y="152"/>
                      <a:pt x="138" y="143"/>
                      <a:pt x="132" y="138"/>
                    </a:cubicBezTo>
                    <a:cubicBezTo>
                      <a:pt x="130" y="135"/>
                      <a:pt x="125" y="135"/>
                      <a:pt x="123" y="133"/>
                    </a:cubicBezTo>
                    <a:cubicBezTo>
                      <a:pt x="120" y="131"/>
                      <a:pt x="116" y="98"/>
                      <a:pt x="129" y="99"/>
                    </a:cubicBezTo>
                    <a:cubicBezTo>
                      <a:pt x="134" y="99"/>
                      <a:pt x="144" y="111"/>
                      <a:pt x="149" y="114"/>
                    </a:cubicBezTo>
                    <a:cubicBezTo>
                      <a:pt x="154" y="113"/>
                      <a:pt x="154" y="113"/>
                      <a:pt x="154" y="113"/>
                    </a:cubicBezTo>
                    <a:cubicBezTo>
                      <a:pt x="149" y="114"/>
                      <a:pt x="149" y="114"/>
                      <a:pt x="149" y="114"/>
                    </a:cubicBezTo>
                    <a:cubicBezTo>
                      <a:pt x="156" y="113"/>
                      <a:pt x="155" y="103"/>
                      <a:pt x="158" y="98"/>
                    </a:cubicBezTo>
                    <a:cubicBezTo>
                      <a:pt x="162" y="94"/>
                      <a:pt x="165" y="95"/>
                      <a:pt x="168" y="97"/>
                    </a:cubicBezTo>
                    <a:cubicBezTo>
                      <a:pt x="170" y="98"/>
                      <a:pt x="172" y="99"/>
                      <a:pt x="175" y="98"/>
                    </a:cubicBezTo>
                    <a:cubicBezTo>
                      <a:pt x="177" y="97"/>
                      <a:pt x="177" y="93"/>
                      <a:pt x="180" y="91"/>
                    </a:cubicBezTo>
                    <a:cubicBezTo>
                      <a:pt x="180" y="91"/>
                      <a:pt x="183" y="95"/>
                      <a:pt x="193" y="97"/>
                    </a:cubicBezTo>
                    <a:cubicBezTo>
                      <a:pt x="194" y="98"/>
                      <a:pt x="196" y="99"/>
                      <a:pt x="197" y="98"/>
                    </a:cubicBezTo>
                    <a:cubicBezTo>
                      <a:pt x="198" y="98"/>
                      <a:pt x="199" y="96"/>
                      <a:pt x="201" y="95"/>
                    </a:cubicBezTo>
                    <a:cubicBezTo>
                      <a:pt x="204" y="95"/>
                      <a:pt x="209" y="97"/>
                      <a:pt x="215" y="99"/>
                    </a:cubicBezTo>
                    <a:cubicBezTo>
                      <a:pt x="220" y="101"/>
                      <a:pt x="226" y="103"/>
                      <a:pt x="230" y="102"/>
                    </a:cubicBezTo>
                    <a:cubicBezTo>
                      <a:pt x="232" y="102"/>
                      <a:pt x="234" y="101"/>
                      <a:pt x="234" y="99"/>
                    </a:cubicBezTo>
                    <a:cubicBezTo>
                      <a:pt x="236" y="98"/>
                      <a:pt x="235" y="94"/>
                      <a:pt x="237" y="94"/>
                    </a:cubicBezTo>
                    <a:cubicBezTo>
                      <a:pt x="241" y="93"/>
                      <a:pt x="243" y="97"/>
                      <a:pt x="247" y="98"/>
                    </a:cubicBezTo>
                    <a:cubicBezTo>
                      <a:pt x="253" y="100"/>
                      <a:pt x="245" y="95"/>
                      <a:pt x="249" y="94"/>
                    </a:cubicBezTo>
                    <a:cubicBezTo>
                      <a:pt x="252" y="93"/>
                      <a:pt x="256" y="93"/>
                      <a:pt x="260" y="94"/>
                    </a:cubicBezTo>
                    <a:cubicBezTo>
                      <a:pt x="262" y="95"/>
                      <a:pt x="263" y="98"/>
                      <a:pt x="266" y="98"/>
                    </a:cubicBezTo>
                    <a:cubicBezTo>
                      <a:pt x="267" y="98"/>
                      <a:pt x="266" y="94"/>
                      <a:pt x="267" y="94"/>
                    </a:cubicBezTo>
                    <a:cubicBezTo>
                      <a:pt x="280" y="95"/>
                      <a:pt x="277" y="109"/>
                      <a:pt x="283" y="110"/>
                    </a:cubicBezTo>
                    <a:cubicBezTo>
                      <a:pt x="287" y="110"/>
                      <a:pt x="291" y="109"/>
                      <a:pt x="293" y="108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7" name="Denmark"/>
              <p:cNvSpPr>
                <a:spLocks noEditPoints="1"/>
              </p:cNvSpPr>
              <p:nvPr/>
            </p:nvSpPr>
            <p:spPr bwMode="auto">
              <a:xfrm>
                <a:off x="4093090" y="2915063"/>
                <a:ext cx="1184778" cy="1162807"/>
              </a:xfrm>
              <a:custGeom>
                <a:avLst/>
                <a:gdLst>
                  <a:gd name="T0" fmla="*/ 536 w 709"/>
                  <a:gd name="T1" fmla="*/ 626 h 646"/>
                  <a:gd name="T2" fmla="*/ 538 w 709"/>
                  <a:gd name="T3" fmla="*/ 598 h 646"/>
                  <a:gd name="T4" fmla="*/ 518 w 709"/>
                  <a:gd name="T5" fmla="*/ 557 h 646"/>
                  <a:gd name="T6" fmla="*/ 522 w 709"/>
                  <a:gd name="T7" fmla="*/ 538 h 646"/>
                  <a:gd name="T8" fmla="*/ 518 w 709"/>
                  <a:gd name="T9" fmla="*/ 528 h 646"/>
                  <a:gd name="T10" fmla="*/ 523 w 709"/>
                  <a:gd name="T11" fmla="*/ 493 h 646"/>
                  <a:gd name="T12" fmla="*/ 557 w 709"/>
                  <a:gd name="T13" fmla="*/ 504 h 646"/>
                  <a:gd name="T14" fmla="*/ 566 w 709"/>
                  <a:gd name="T15" fmla="*/ 494 h 646"/>
                  <a:gd name="T16" fmla="*/ 567 w 709"/>
                  <a:gd name="T17" fmla="*/ 472 h 646"/>
                  <a:gd name="T18" fmla="*/ 583 w 709"/>
                  <a:gd name="T19" fmla="*/ 468 h 646"/>
                  <a:gd name="T20" fmla="*/ 605 w 709"/>
                  <a:gd name="T21" fmla="*/ 484 h 646"/>
                  <a:gd name="T22" fmla="*/ 609 w 709"/>
                  <a:gd name="T23" fmla="*/ 499 h 646"/>
                  <a:gd name="T24" fmla="*/ 634 w 709"/>
                  <a:gd name="T25" fmla="*/ 513 h 646"/>
                  <a:gd name="T26" fmla="*/ 602 w 709"/>
                  <a:gd name="T27" fmla="*/ 557 h 646"/>
                  <a:gd name="T28" fmla="*/ 589 w 709"/>
                  <a:gd name="T29" fmla="*/ 574 h 646"/>
                  <a:gd name="T30" fmla="*/ 595 w 709"/>
                  <a:gd name="T31" fmla="*/ 579 h 646"/>
                  <a:gd name="T32" fmla="*/ 625 w 709"/>
                  <a:gd name="T33" fmla="*/ 573 h 646"/>
                  <a:gd name="T34" fmla="*/ 607 w 709"/>
                  <a:gd name="T35" fmla="*/ 609 h 646"/>
                  <a:gd name="T36" fmla="*/ 598 w 709"/>
                  <a:gd name="T37" fmla="*/ 608 h 646"/>
                  <a:gd name="T38" fmla="*/ 585 w 709"/>
                  <a:gd name="T39" fmla="*/ 579 h 646"/>
                  <a:gd name="T40" fmla="*/ 578 w 709"/>
                  <a:gd name="T41" fmla="*/ 589 h 646"/>
                  <a:gd name="T42" fmla="*/ 571 w 709"/>
                  <a:gd name="T43" fmla="*/ 617 h 646"/>
                  <a:gd name="T44" fmla="*/ 579 w 709"/>
                  <a:gd name="T45" fmla="*/ 624 h 646"/>
                  <a:gd name="T46" fmla="*/ 7 w 709"/>
                  <a:gd name="T47" fmla="*/ 73 h 646"/>
                  <a:gd name="T48" fmla="*/ 21 w 709"/>
                  <a:gd name="T49" fmla="*/ 9 h 646"/>
                  <a:gd name="T50" fmla="*/ 19 w 709"/>
                  <a:gd name="T51" fmla="*/ 25 h 646"/>
                  <a:gd name="T52" fmla="*/ 678 w 709"/>
                  <a:gd name="T53" fmla="*/ 539 h 646"/>
                  <a:gd name="T54" fmla="*/ 703 w 709"/>
                  <a:gd name="T55" fmla="*/ 542 h 646"/>
                  <a:gd name="T56" fmla="*/ 691 w 709"/>
                  <a:gd name="T57" fmla="*/ 577 h 646"/>
                  <a:gd name="T58" fmla="*/ 683 w 709"/>
                  <a:gd name="T59" fmla="*/ 603 h 646"/>
                  <a:gd name="T60" fmla="*/ 675 w 709"/>
                  <a:gd name="T61" fmla="*/ 613 h 646"/>
                  <a:gd name="T62" fmla="*/ 659 w 709"/>
                  <a:gd name="T63" fmla="*/ 600 h 646"/>
                  <a:gd name="T64" fmla="*/ 644 w 709"/>
                  <a:gd name="T65" fmla="*/ 590 h 646"/>
                  <a:gd name="T66" fmla="*/ 634 w 709"/>
                  <a:gd name="T67" fmla="*/ 562 h 646"/>
                  <a:gd name="T68" fmla="*/ 656 w 709"/>
                  <a:gd name="T69" fmla="*/ 544 h 646"/>
                  <a:gd name="T70" fmla="*/ 678 w 709"/>
                  <a:gd name="T71" fmla="*/ 567 h 646"/>
                  <a:gd name="T72" fmla="*/ 678 w 709"/>
                  <a:gd name="T73" fmla="*/ 539 h 646"/>
                  <a:gd name="T74" fmla="*/ 686 w 709"/>
                  <a:gd name="T75" fmla="*/ 630 h 646"/>
                  <a:gd name="T76" fmla="*/ 678 w 709"/>
                  <a:gd name="T77" fmla="*/ 641 h 646"/>
                  <a:gd name="T78" fmla="*/ 678 w 709"/>
                  <a:gd name="T79" fmla="*/ 641 h 646"/>
                  <a:gd name="T80" fmla="*/ 649 w 709"/>
                  <a:gd name="T81" fmla="*/ 637 h 646"/>
                  <a:gd name="T82" fmla="*/ 677 w 709"/>
                  <a:gd name="T83" fmla="*/ 634 h 646"/>
                  <a:gd name="T84" fmla="*/ 676 w 709"/>
                  <a:gd name="T85" fmla="*/ 619 h 646"/>
                  <a:gd name="T86" fmla="*/ 518 w 709"/>
                  <a:gd name="T87" fmla="*/ 547 h 646"/>
                  <a:gd name="T88" fmla="*/ 617 w 709"/>
                  <a:gd name="T89" fmla="*/ 439 h 646"/>
                  <a:gd name="T90" fmla="*/ 575 w 709"/>
                  <a:gd name="T91" fmla="*/ 467 h 646"/>
                  <a:gd name="T92" fmla="*/ 546 w 709"/>
                  <a:gd name="T93" fmla="*/ 470 h 646"/>
                  <a:gd name="T94" fmla="*/ 536 w 709"/>
                  <a:gd name="T95" fmla="*/ 503 h 646"/>
                  <a:gd name="T96" fmla="*/ 593 w 709"/>
                  <a:gd name="T97" fmla="*/ 428 h 646"/>
                  <a:gd name="T98" fmla="*/ 611 w 709"/>
                  <a:gd name="T99" fmla="*/ 427 h 646"/>
                  <a:gd name="T100" fmla="*/ 664 w 709"/>
                  <a:gd name="T101" fmla="*/ 632 h 646"/>
                  <a:gd name="T102" fmla="*/ 669 w 709"/>
                  <a:gd name="T103" fmla="*/ 631 h 6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09" h="646">
                    <a:moveTo>
                      <a:pt x="571" y="633"/>
                    </a:moveTo>
                    <a:cubicBezTo>
                      <a:pt x="563" y="632"/>
                      <a:pt x="556" y="628"/>
                      <a:pt x="549" y="626"/>
                    </a:cubicBezTo>
                    <a:cubicBezTo>
                      <a:pt x="547" y="626"/>
                      <a:pt x="540" y="627"/>
                      <a:pt x="536" y="626"/>
                    </a:cubicBezTo>
                    <a:cubicBezTo>
                      <a:pt x="536" y="624"/>
                      <a:pt x="536" y="621"/>
                      <a:pt x="537" y="617"/>
                    </a:cubicBezTo>
                    <a:cubicBezTo>
                      <a:pt x="537" y="615"/>
                      <a:pt x="541" y="611"/>
                      <a:pt x="539" y="609"/>
                    </a:cubicBezTo>
                    <a:cubicBezTo>
                      <a:pt x="541" y="606"/>
                      <a:pt x="538" y="602"/>
                      <a:pt x="538" y="598"/>
                    </a:cubicBezTo>
                    <a:cubicBezTo>
                      <a:pt x="537" y="594"/>
                      <a:pt x="539" y="589"/>
                      <a:pt x="537" y="587"/>
                    </a:cubicBezTo>
                    <a:cubicBezTo>
                      <a:pt x="532" y="582"/>
                      <a:pt x="517" y="587"/>
                      <a:pt x="514" y="577"/>
                    </a:cubicBezTo>
                    <a:cubicBezTo>
                      <a:pt x="512" y="571"/>
                      <a:pt x="518" y="564"/>
                      <a:pt x="518" y="557"/>
                    </a:cubicBezTo>
                    <a:cubicBezTo>
                      <a:pt x="519" y="557"/>
                      <a:pt x="519" y="557"/>
                      <a:pt x="519" y="558"/>
                    </a:cubicBezTo>
                    <a:cubicBezTo>
                      <a:pt x="537" y="566"/>
                      <a:pt x="525" y="544"/>
                      <a:pt x="524" y="542"/>
                    </a:cubicBezTo>
                    <a:cubicBezTo>
                      <a:pt x="524" y="540"/>
                      <a:pt x="523" y="537"/>
                      <a:pt x="522" y="538"/>
                    </a:cubicBezTo>
                    <a:cubicBezTo>
                      <a:pt x="519" y="539"/>
                      <a:pt x="519" y="544"/>
                      <a:pt x="516" y="545"/>
                    </a:cubicBezTo>
                    <a:cubicBezTo>
                      <a:pt x="515" y="546"/>
                      <a:pt x="516" y="541"/>
                      <a:pt x="516" y="539"/>
                    </a:cubicBezTo>
                    <a:cubicBezTo>
                      <a:pt x="516" y="535"/>
                      <a:pt x="518" y="531"/>
                      <a:pt x="518" y="528"/>
                    </a:cubicBezTo>
                    <a:cubicBezTo>
                      <a:pt x="518" y="525"/>
                      <a:pt x="515" y="520"/>
                      <a:pt x="518" y="518"/>
                    </a:cubicBezTo>
                    <a:cubicBezTo>
                      <a:pt x="518" y="517"/>
                      <a:pt x="519" y="517"/>
                      <a:pt x="520" y="517"/>
                    </a:cubicBezTo>
                    <a:cubicBezTo>
                      <a:pt x="519" y="516"/>
                      <a:pt x="517" y="491"/>
                      <a:pt x="523" y="493"/>
                    </a:cubicBezTo>
                    <a:cubicBezTo>
                      <a:pt x="526" y="495"/>
                      <a:pt x="524" y="500"/>
                      <a:pt x="525" y="503"/>
                    </a:cubicBezTo>
                    <a:cubicBezTo>
                      <a:pt x="531" y="515"/>
                      <a:pt x="555" y="486"/>
                      <a:pt x="556" y="486"/>
                    </a:cubicBezTo>
                    <a:cubicBezTo>
                      <a:pt x="568" y="482"/>
                      <a:pt x="554" y="501"/>
                      <a:pt x="557" y="504"/>
                    </a:cubicBezTo>
                    <a:cubicBezTo>
                      <a:pt x="559" y="506"/>
                      <a:pt x="563" y="504"/>
                      <a:pt x="567" y="503"/>
                    </a:cubicBezTo>
                    <a:cubicBezTo>
                      <a:pt x="566" y="503"/>
                      <a:pt x="566" y="503"/>
                      <a:pt x="566" y="503"/>
                    </a:cubicBezTo>
                    <a:cubicBezTo>
                      <a:pt x="565" y="500"/>
                      <a:pt x="568" y="496"/>
                      <a:pt x="566" y="494"/>
                    </a:cubicBezTo>
                    <a:cubicBezTo>
                      <a:pt x="565" y="492"/>
                      <a:pt x="562" y="497"/>
                      <a:pt x="561" y="495"/>
                    </a:cubicBezTo>
                    <a:cubicBezTo>
                      <a:pt x="560" y="493"/>
                      <a:pt x="565" y="491"/>
                      <a:pt x="565" y="489"/>
                    </a:cubicBezTo>
                    <a:cubicBezTo>
                      <a:pt x="565" y="476"/>
                      <a:pt x="557" y="480"/>
                      <a:pt x="567" y="472"/>
                    </a:cubicBezTo>
                    <a:cubicBezTo>
                      <a:pt x="570" y="470"/>
                      <a:pt x="576" y="470"/>
                      <a:pt x="578" y="472"/>
                    </a:cubicBezTo>
                    <a:cubicBezTo>
                      <a:pt x="579" y="473"/>
                      <a:pt x="576" y="478"/>
                      <a:pt x="578" y="477"/>
                    </a:cubicBezTo>
                    <a:cubicBezTo>
                      <a:pt x="580" y="475"/>
                      <a:pt x="580" y="470"/>
                      <a:pt x="583" y="468"/>
                    </a:cubicBezTo>
                    <a:cubicBezTo>
                      <a:pt x="585" y="467"/>
                      <a:pt x="588" y="468"/>
                      <a:pt x="590" y="468"/>
                    </a:cubicBezTo>
                    <a:cubicBezTo>
                      <a:pt x="593" y="470"/>
                      <a:pt x="606" y="473"/>
                      <a:pt x="606" y="473"/>
                    </a:cubicBezTo>
                    <a:cubicBezTo>
                      <a:pt x="608" y="476"/>
                      <a:pt x="605" y="480"/>
                      <a:pt x="605" y="484"/>
                    </a:cubicBezTo>
                    <a:cubicBezTo>
                      <a:pt x="605" y="487"/>
                      <a:pt x="610" y="490"/>
                      <a:pt x="609" y="493"/>
                    </a:cubicBezTo>
                    <a:cubicBezTo>
                      <a:pt x="608" y="495"/>
                      <a:pt x="604" y="492"/>
                      <a:pt x="601" y="493"/>
                    </a:cubicBezTo>
                    <a:cubicBezTo>
                      <a:pt x="598" y="493"/>
                      <a:pt x="610" y="496"/>
                      <a:pt x="609" y="499"/>
                    </a:cubicBezTo>
                    <a:cubicBezTo>
                      <a:pt x="609" y="500"/>
                      <a:pt x="609" y="501"/>
                      <a:pt x="609" y="501"/>
                    </a:cubicBezTo>
                    <a:cubicBezTo>
                      <a:pt x="611" y="502"/>
                      <a:pt x="611" y="507"/>
                      <a:pt x="614" y="508"/>
                    </a:cubicBezTo>
                    <a:cubicBezTo>
                      <a:pt x="621" y="509"/>
                      <a:pt x="631" y="500"/>
                      <a:pt x="634" y="513"/>
                    </a:cubicBezTo>
                    <a:cubicBezTo>
                      <a:pt x="635" y="517"/>
                      <a:pt x="622" y="540"/>
                      <a:pt x="617" y="538"/>
                    </a:cubicBezTo>
                    <a:cubicBezTo>
                      <a:pt x="613" y="535"/>
                      <a:pt x="613" y="528"/>
                      <a:pt x="609" y="526"/>
                    </a:cubicBezTo>
                    <a:cubicBezTo>
                      <a:pt x="604" y="525"/>
                      <a:pt x="604" y="554"/>
                      <a:pt x="602" y="557"/>
                    </a:cubicBezTo>
                    <a:cubicBezTo>
                      <a:pt x="600" y="565"/>
                      <a:pt x="595" y="570"/>
                      <a:pt x="587" y="570"/>
                    </a:cubicBezTo>
                    <a:cubicBezTo>
                      <a:pt x="583" y="570"/>
                      <a:pt x="575" y="564"/>
                      <a:pt x="576" y="568"/>
                    </a:cubicBezTo>
                    <a:cubicBezTo>
                      <a:pt x="578" y="572"/>
                      <a:pt x="587" y="569"/>
                      <a:pt x="589" y="574"/>
                    </a:cubicBezTo>
                    <a:cubicBezTo>
                      <a:pt x="589" y="574"/>
                      <a:pt x="589" y="575"/>
                      <a:pt x="589" y="576"/>
                    </a:cubicBezTo>
                    <a:cubicBezTo>
                      <a:pt x="589" y="576"/>
                      <a:pt x="590" y="576"/>
                      <a:pt x="590" y="576"/>
                    </a:cubicBezTo>
                    <a:cubicBezTo>
                      <a:pt x="592" y="576"/>
                      <a:pt x="593" y="579"/>
                      <a:pt x="595" y="579"/>
                    </a:cubicBezTo>
                    <a:cubicBezTo>
                      <a:pt x="601" y="578"/>
                      <a:pt x="605" y="568"/>
                      <a:pt x="611" y="570"/>
                    </a:cubicBezTo>
                    <a:cubicBezTo>
                      <a:pt x="615" y="572"/>
                      <a:pt x="617" y="577"/>
                      <a:pt x="621" y="578"/>
                    </a:cubicBezTo>
                    <a:cubicBezTo>
                      <a:pt x="623" y="578"/>
                      <a:pt x="623" y="574"/>
                      <a:pt x="625" y="573"/>
                    </a:cubicBezTo>
                    <a:cubicBezTo>
                      <a:pt x="635" y="594"/>
                      <a:pt x="623" y="576"/>
                      <a:pt x="627" y="584"/>
                    </a:cubicBezTo>
                    <a:cubicBezTo>
                      <a:pt x="630" y="590"/>
                      <a:pt x="641" y="616"/>
                      <a:pt x="620" y="614"/>
                    </a:cubicBezTo>
                    <a:cubicBezTo>
                      <a:pt x="615" y="613"/>
                      <a:pt x="611" y="610"/>
                      <a:pt x="607" y="609"/>
                    </a:cubicBezTo>
                    <a:cubicBezTo>
                      <a:pt x="605" y="609"/>
                      <a:pt x="602" y="612"/>
                      <a:pt x="601" y="610"/>
                    </a:cubicBezTo>
                    <a:cubicBezTo>
                      <a:pt x="596" y="607"/>
                      <a:pt x="612" y="608"/>
                      <a:pt x="603" y="603"/>
                    </a:cubicBezTo>
                    <a:cubicBezTo>
                      <a:pt x="589" y="595"/>
                      <a:pt x="603" y="608"/>
                      <a:pt x="598" y="608"/>
                    </a:cubicBezTo>
                    <a:cubicBezTo>
                      <a:pt x="597" y="608"/>
                      <a:pt x="593" y="591"/>
                      <a:pt x="593" y="590"/>
                    </a:cubicBezTo>
                    <a:cubicBezTo>
                      <a:pt x="591" y="586"/>
                      <a:pt x="585" y="584"/>
                      <a:pt x="584" y="579"/>
                    </a:cubicBezTo>
                    <a:cubicBezTo>
                      <a:pt x="584" y="579"/>
                      <a:pt x="585" y="579"/>
                      <a:pt x="585" y="579"/>
                    </a:cubicBezTo>
                    <a:cubicBezTo>
                      <a:pt x="580" y="581"/>
                      <a:pt x="574" y="582"/>
                      <a:pt x="574" y="582"/>
                    </a:cubicBezTo>
                    <a:cubicBezTo>
                      <a:pt x="573" y="585"/>
                      <a:pt x="580" y="582"/>
                      <a:pt x="581" y="585"/>
                    </a:cubicBezTo>
                    <a:cubicBezTo>
                      <a:pt x="581" y="586"/>
                      <a:pt x="578" y="587"/>
                      <a:pt x="578" y="589"/>
                    </a:cubicBezTo>
                    <a:cubicBezTo>
                      <a:pt x="577" y="592"/>
                      <a:pt x="578" y="595"/>
                      <a:pt x="579" y="598"/>
                    </a:cubicBezTo>
                    <a:cubicBezTo>
                      <a:pt x="579" y="600"/>
                      <a:pt x="582" y="600"/>
                      <a:pt x="582" y="602"/>
                    </a:cubicBezTo>
                    <a:cubicBezTo>
                      <a:pt x="582" y="608"/>
                      <a:pt x="572" y="611"/>
                      <a:pt x="571" y="617"/>
                    </a:cubicBezTo>
                    <a:cubicBezTo>
                      <a:pt x="571" y="619"/>
                      <a:pt x="575" y="616"/>
                      <a:pt x="577" y="617"/>
                    </a:cubicBezTo>
                    <a:cubicBezTo>
                      <a:pt x="581" y="620"/>
                      <a:pt x="584" y="624"/>
                      <a:pt x="585" y="628"/>
                    </a:cubicBezTo>
                    <a:cubicBezTo>
                      <a:pt x="585" y="630"/>
                      <a:pt x="581" y="624"/>
                      <a:pt x="579" y="624"/>
                    </a:cubicBezTo>
                    <a:cubicBezTo>
                      <a:pt x="576" y="625"/>
                      <a:pt x="572" y="630"/>
                      <a:pt x="571" y="633"/>
                    </a:cubicBezTo>
                    <a:close/>
                    <a:moveTo>
                      <a:pt x="8" y="59"/>
                    </a:moveTo>
                    <a:cubicBezTo>
                      <a:pt x="8" y="64"/>
                      <a:pt x="7" y="73"/>
                      <a:pt x="7" y="73"/>
                    </a:cubicBezTo>
                    <a:cubicBezTo>
                      <a:pt x="7" y="73"/>
                      <a:pt x="8" y="64"/>
                      <a:pt x="8" y="59"/>
                    </a:cubicBezTo>
                    <a:close/>
                    <a:moveTo>
                      <a:pt x="17" y="3"/>
                    </a:moveTo>
                    <a:cubicBezTo>
                      <a:pt x="10" y="18"/>
                      <a:pt x="20" y="0"/>
                      <a:pt x="21" y="9"/>
                    </a:cubicBezTo>
                    <a:cubicBezTo>
                      <a:pt x="21" y="10"/>
                      <a:pt x="19" y="10"/>
                      <a:pt x="19" y="10"/>
                    </a:cubicBezTo>
                    <a:cubicBezTo>
                      <a:pt x="20" y="13"/>
                      <a:pt x="24" y="12"/>
                      <a:pt x="24" y="14"/>
                    </a:cubicBezTo>
                    <a:cubicBezTo>
                      <a:pt x="24" y="18"/>
                      <a:pt x="23" y="25"/>
                      <a:pt x="19" y="25"/>
                    </a:cubicBezTo>
                    <a:cubicBezTo>
                      <a:pt x="16" y="24"/>
                      <a:pt x="20" y="18"/>
                      <a:pt x="19" y="14"/>
                    </a:cubicBezTo>
                    <a:cubicBezTo>
                      <a:pt x="17" y="9"/>
                      <a:pt x="0" y="2"/>
                      <a:pt x="17" y="3"/>
                    </a:cubicBezTo>
                    <a:close/>
                    <a:moveTo>
                      <a:pt x="678" y="539"/>
                    </a:moveTo>
                    <a:cubicBezTo>
                      <a:pt x="678" y="539"/>
                      <a:pt x="678" y="539"/>
                      <a:pt x="678" y="539"/>
                    </a:cubicBezTo>
                    <a:cubicBezTo>
                      <a:pt x="684" y="535"/>
                      <a:pt x="694" y="537"/>
                      <a:pt x="700" y="538"/>
                    </a:cubicBezTo>
                    <a:cubicBezTo>
                      <a:pt x="701" y="539"/>
                      <a:pt x="703" y="540"/>
                      <a:pt x="703" y="542"/>
                    </a:cubicBezTo>
                    <a:cubicBezTo>
                      <a:pt x="703" y="545"/>
                      <a:pt x="699" y="547"/>
                      <a:pt x="699" y="551"/>
                    </a:cubicBezTo>
                    <a:cubicBezTo>
                      <a:pt x="700" y="562"/>
                      <a:pt x="709" y="561"/>
                      <a:pt x="701" y="570"/>
                    </a:cubicBezTo>
                    <a:cubicBezTo>
                      <a:pt x="698" y="573"/>
                      <a:pt x="694" y="574"/>
                      <a:pt x="691" y="577"/>
                    </a:cubicBezTo>
                    <a:cubicBezTo>
                      <a:pt x="686" y="582"/>
                      <a:pt x="692" y="584"/>
                      <a:pt x="697" y="587"/>
                    </a:cubicBezTo>
                    <a:cubicBezTo>
                      <a:pt x="700" y="595"/>
                      <a:pt x="700" y="595"/>
                      <a:pt x="700" y="595"/>
                    </a:cubicBezTo>
                    <a:cubicBezTo>
                      <a:pt x="696" y="599"/>
                      <a:pt x="683" y="598"/>
                      <a:pt x="683" y="603"/>
                    </a:cubicBezTo>
                    <a:cubicBezTo>
                      <a:pt x="684" y="609"/>
                      <a:pt x="697" y="617"/>
                      <a:pt x="683" y="618"/>
                    </a:cubicBezTo>
                    <a:cubicBezTo>
                      <a:pt x="678" y="618"/>
                      <a:pt x="674" y="615"/>
                      <a:pt x="670" y="612"/>
                    </a:cubicBezTo>
                    <a:cubicBezTo>
                      <a:pt x="672" y="613"/>
                      <a:pt x="675" y="615"/>
                      <a:pt x="675" y="613"/>
                    </a:cubicBezTo>
                    <a:cubicBezTo>
                      <a:pt x="677" y="609"/>
                      <a:pt x="673" y="604"/>
                      <a:pt x="670" y="601"/>
                    </a:cubicBezTo>
                    <a:cubicBezTo>
                      <a:pt x="669" y="600"/>
                      <a:pt x="669" y="603"/>
                      <a:pt x="667" y="603"/>
                    </a:cubicBezTo>
                    <a:cubicBezTo>
                      <a:pt x="664" y="603"/>
                      <a:pt x="662" y="600"/>
                      <a:pt x="659" y="600"/>
                    </a:cubicBezTo>
                    <a:cubicBezTo>
                      <a:pt x="656" y="599"/>
                      <a:pt x="653" y="602"/>
                      <a:pt x="651" y="601"/>
                    </a:cubicBezTo>
                    <a:cubicBezTo>
                      <a:pt x="650" y="601"/>
                      <a:pt x="650" y="599"/>
                      <a:pt x="650" y="599"/>
                    </a:cubicBezTo>
                    <a:cubicBezTo>
                      <a:pt x="653" y="590"/>
                      <a:pt x="643" y="592"/>
                      <a:pt x="644" y="590"/>
                    </a:cubicBezTo>
                    <a:cubicBezTo>
                      <a:pt x="644" y="588"/>
                      <a:pt x="648" y="589"/>
                      <a:pt x="649" y="586"/>
                    </a:cubicBezTo>
                    <a:cubicBezTo>
                      <a:pt x="651" y="570"/>
                      <a:pt x="646" y="574"/>
                      <a:pt x="637" y="566"/>
                    </a:cubicBezTo>
                    <a:cubicBezTo>
                      <a:pt x="636" y="565"/>
                      <a:pt x="632" y="562"/>
                      <a:pt x="634" y="562"/>
                    </a:cubicBezTo>
                    <a:cubicBezTo>
                      <a:pt x="639" y="559"/>
                      <a:pt x="666" y="565"/>
                      <a:pt x="661" y="548"/>
                    </a:cubicBezTo>
                    <a:cubicBezTo>
                      <a:pt x="660" y="544"/>
                      <a:pt x="654" y="545"/>
                      <a:pt x="651" y="543"/>
                    </a:cubicBezTo>
                    <a:cubicBezTo>
                      <a:pt x="649" y="542"/>
                      <a:pt x="654" y="544"/>
                      <a:pt x="656" y="544"/>
                    </a:cubicBezTo>
                    <a:cubicBezTo>
                      <a:pt x="659" y="545"/>
                      <a:pt x="662" y="546"/>
                      <a:pt x="665" y="546"/>
                    </a:cubicBezTo>
                    <a:cubicBezTo>
                      <a:pt x="673" y="546"/>
                      <a:pt x="687" y="542"/>
                      <a:pt x="684" y="560"/>
                    </a:cubicBezTo>
                    <a:cubicBezTo>
                      <a:pt x="683" y="562"/>
                      <a:pt x="676" y="565"/>
                      <a:pt x="678" y="567"/>
                    </a:cubicBezTo>
                    <a:cubicBezTo>
                      <a:pt x="688" y="576"/>
                      <a:pt x="685" y="555"/>
                      <a:pt x="683" y="547"/>
                    </a:cubicBezTo>
                    <a:cubicBezTo>
                      <a:pt x="683" y="544"/>
                      <a:pt x="674" y="547"/>
                      <a:pt x="675" y="544"/>
                    </a:cubicBezTo>
                    <a:cubicBezTo>
                      <a:pt x="675" y="542"/>
                      <a:pt x="677" y="540"/>
                      <a:pt x="678" y="539"/>
                    </a:cubicBezTo>
                    <a:close/>
                    <a:moveTo>
                      <a:pt x="689" y="629"/>
                    </a:moveTo>
                    <a:cubicBezTo>
                      <a:pt x="686" y="629"/>
                      <a:pt x="686" y="629"/>
                      <a:pt x="686" y="629"/>
                    </a:cubicBezTo>
                    <a:cubicBezTo>
                      <a:pt x="686" y="630"/>
                      <a:pt x="686" y="630"/>
                      <a:pt x="686" y="630"/>
                    </a:cubicBezTo>
                    <a:cubicBezTo>
                      <a:pt x="687" y="632"/>
                      <a:pt x="686" y="632"/>
                      <a:pt x="686" y="633"/>
                    </a:cubicBezTo>
                    <a:cubicBezTo>
                      <a:pt x="684" y="634"/>
                      <a:pt x="682" y="635"/>
                      <a:pt x="682" y="637"/>
                    </a:cubicBezTo>
                    <a:cubicBezTo>
                      <a:pt x="680" y="638"/>
                      <a:pt x="679" y="639"/>
                      <a:pt x="678" y="641"/>
                    </a:cubicBezTo>
                    <a:cubicBezTo>
                      <a:pt x="678" y="641"/>
                      <a:pt x="678" y="641"/>
                      <a:pt x="678" y="641"/>
                    </a:cubicBezTo>
                    <a:cubicBezTo>
                      <a:pt x="678" y="642"/>
                      <a:pt x="678" y="642"/>
                      <a:pt x="678" y="642"/>
                    </a:cubicBezTo>
                    <a:cubicBezTo>
                      <a:pt x="678" y="642"/>
                      <a:pt x="678" y="641"/>
                      <a:pt x="678" y="641"/>
                    </a:cubicBezTo>
                    <a:cubicBezTo>
                      <a:pt x="674" y="641"/>
                      <a:pt x="670" y="640"/>
                      <a:pt x="669" y="641"/>
                    </a:cubicBezTo>
                    <a:cubicBezTo>
                      <a:pt x="666" y="641"/>
                      <a:pt x="664" y="646"/>
                      <a:pt x="660" y="646"/>
                    </a:cubicBezTo>
                    <a:cubicBezTo>
                      <a:pt x="656" y="645"/>
                      <a:pt x="653" y="639"/>
                      <a:pt x="649" y="637"/>
                    </a:cubicBezTo>
                    <a:cubicBezTo>
                      <a:pt x="647" y="635"/>
                      <a:pt x="643" y="634"/>
                      <a:pt x="640" y="632"/>
                    </a:cubicBezTo>
                    <a:cubicBezTo>
                      <a:pt x="639" y="631"/>
                      <a:pt x="645" y="630"/>
                      <a:pt x="651" y="620"/>
                    </a:cubicBezTo>
                    <a:cubicBezTo>
                      <a:pt x="658" y="626"/>
                      <a:pt x="670" y="628"/>
                      <a:pt x="677" y="634"/>
                    </a:cubicBezTo>
                    <a:cubicBezTo>
                      <a:pt x="678" y="634"/>
                      <a:pt x="678" y="634"/>
                      <a:pt x="678" y="634"/>
                    </a:cubicBezTo>
                    <a:cubicBezTo>
                      <a:pt x="674" y="629"/>
                      <a:pt x="667" y="625"/>
                      <a:pt x="670" y="621"/>
                    </a:cubicBezTo>
                    <a:cubicBezTo>
                      <a:pt x="671" y="619"/>
                      <a:pt x="674" y="620"/>
                      <a:pt x="676" y="619"/>
                    </a:cubicBezTo>
                    <a:cubicBezTo>
                      <a:pt x="680" y="623"/>
                      <a:pt x="688" y="622"/>
                      <a:pt x="690" y="628"/>
                    </a:cubicBezTo>
                    <a:cubicBezTo>
                      <a:pt x="690" y="628"/>
                      <a:pt x="690" y="629"/>
                      <a:pt x="689" y="629"/>
                    </a:cubicBezTo>
                    <a:close/>
                    <a:moveTo>
                      <a:pt x="518" y="547"/>
                    </a:moveTo>
                    <a:cubicBezTo>
                      <a:pt x="518" y="548"/>
                      <a:pt x="518" y="549"/>
                      <a:pt x="518" y="551"/>
                    </a:cubicBezTo>
                    <a:cubicBezTo>
                      <a:pt x="518" y="548"/>
                      <a:pt x="518" y="544"/>
                      <a:pt x="518" y="547"/>
                    </a:cubicBezTo>
                    <a:close/>
                    <a:moveTo>
                      <a:pt x="617" y="439"/>
                    </a:moveTo>
                    <a:cubicBezTo>
                      <a:pt x="619" y="445"/>
                      <a:pt x="613" y="475"/>
                      <a:pt x="603" y="472"/>
                    </a:cubicBezTo>
                    <a:cubicBezTo>
                      <a:pt x="600" y="471"/>
                      <a:pt x="597" y="467"/>
                      <a:pt x="593" y="467"/>
                    </a:cubicBezTo>
                    <a:cubicBezTo>
                      <a:pt x="597" y="462"/>
                      <a:pt x="580" y="466"/>
                      <a:pt x="575" y="467"/>
                    </a:cubicBezTo>
                    <a:cubicBezTo>
                      <a:pt x="571" y="468"/>
                      <a:pt x="568" y="471"/>
                      <a:pt x="564" y="472"/>
                    </a:cubicBezTo>
                    <a:cubicBezTo>
                      <a:pt x="562" y="472"/>
                      <a:pt x="561" y="469"/>
                      <a:pt x="559" y="469"/>
                    </a:cubicBezTo>
                    <a:cubicBezTo>
                      <a:pt x="555" y="469"/>
                      <a:pt x="550" y="469"/>
                      <a:pt x="546" y="470"/>
                    </a:cubicBezTo>
                    <a:cubicBezTo>
                      <a:pt x="545" y="471"/>
                      <a:pt x="546" y="474"/>
                      <a:pt x="544" y="475"/>
                    </a:cubicBezTo>
                    <a:cubicBezTo>
                      <a:pt x="536" y="479"/>
                      <a:pt x="545" y="456"/>
                      <a:pt x="533" y="486"/>
                    </a:cubicBezTo>
                    <a:cubicBezTo>
                      <a:pt x="533" y="487"/>
                      <a:pt x="536" y="503"/>
                      <a:pt x="536" y="503"/>
                    </a:cubicBezTo>
                    <a:cubicBezTo>
                      <a:pt x="517" y="502"/>
                      <a:pt x="527" y="467"/>
                      <a:pt x="538" y="463"/>
                    </a:cubicBezTo>
                    <a:cubicBezTo>
                      <a:pt x="548" y="458"/>
                      <a:pt x="561" y="463"/>
                      <a:pt x="571" y="460"/>
                    </a:cubicBezTo>
                    <a:cubicBezTo>
                      <a:pt x="584" y="453"/>
                      <a:pt x="581" y="435"/>
                      <a:pt x="593" y="428"/>
                    </a:cubicBezTo>
                    <a:cubicBezTo>
                      <a:pt x="597" y="427"/>
                      <a:pt x="602" y="428"/>
                      <a:pt x="606" y="426"/>
                    </a:cubicBezTo>
                    <a:cubicBezTo>
                      <a:pt x="610" y="424"/>
                      <a:pt x="612" y="416"/>
                      <a:pt x="617" y="416"/>
                    </a:cubicBezTo>
                    <a:cubicBezTo>
                      <a:pt x="625" y="416"/>
                      <a:pt x="612" y="422"/>
                      <a:pt x="611" y="427"/>
                    </a:cubicBezTo>
                    <a:cubicBezTo>
                      <a:pt x="610" y="435"/>
                      <a:pt x="614" y="430"/>
                      <a:pt x="617" y="439"/>
                    </a:cubicBezTo>
                    <a:close/>
                    <a:moveTo>
                      <a:pt x="669" y="631"/>
                    </a:moveTo>
                    <a:cubicBezTo>
                      <a:pt x="664" y="632"/>
                      <a:pt x="664" y="632"/>
                      <a:pt x="664" y="632"/>
                    </a:cubicBezTo>
                    <a:cubicBezTo>
                      <a:pt x="668" y="633"/>
                      <a:pt x="671" y="634"/>
                      <a:pt x="674" y="637"/>
                    </a:cubicBezTo>
                    <a:cubicBezTo>
                      <a:pt x="675" y="637"/>
                      <a:pt x="675" y="637"/>
                      <a:pt x="675" y="637"/>
                    </a:cubicBezTo>
                    <a:cubicBezTo>
                      <a:pt x="673" y="635"/>
                      <a:pt x="671" y="633"/>
                      <a:pt x="669" y="63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fr-FR" sz="2000" dirty="0"/>
              </a:p>
            </p:txBody>
          </p:sp>
          <p:sp>
            <p:nvSpPr>
              <p:cNvPr id="118" name="Malta"/>
              <p:cNvSpPr>
                <a:spLocks/>
              </p:cNvSpPr>
              <p:nvPr/>
            </p:nvSpPr>
            <p:spPr bwMode="auto">
              <a:xfrm>
                <a:off x="5885063" y="6565340"/>
                <a:ext cx="53975" cy="42863"/>
              </a:xfrm>
              <a:custGeom>
                <a:avLst/>
                <a:gdLst>
                  <a:gd name="T0" fmla="*/ 0 w 67"/>
                  <a:gd name="T1" fmla="*/ 0 h 54"/>
                  <a:gd name="T2" fmla="*/ 0 w 67"/>
                  <a:gd name="T3" fmla="*/ 41 h 54"/>
                  <a:gd name="T4" fmla="*/ 27 w 67"/>
                  <a:gd name="T5" fmla="*/ 41 h 54"/>
                  <a:gd name="T6" fmla="*/ 67 w 67"/>
                  <a:gd name="T7" fmla="*/ 54 h 54"/>
                  <a:gd name="T8" fmla="*/ 67 w 67"/>
                  <a:gd name="T9" fmla="*/ 14 h 54"/>
                  <a:gd name="T10" fmla="*/ 40 w 67"/>
                  <a:gd name="T11" fmla="*/ 0 h 54"/>
                  <a:gd name="T12" fmla="*/ 0 w 67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54"/>
                  <a:gd name="T23" fmla="*/ 67 w 67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54">
                    <a:moveTo>
                      <a:pt x="0" y="0"/>
                    </a:moveTo>
                    <a:lnTo>
                      <a:pt x="0" y="41"/>
                    </a:lnTo>
                    <a:lnTo>
                      <a:pt x="27" y="41"/>
                    </a:lnTo>
                    <a:lnTo>
                      <a:pt x="67" y="54"/>
                    </a:lnTo>
                    <a:lnTo>
                      <a:pt x="67" y="14"/>
                    </a:lnTo>
                    <a:lnTo>
                      <a:pt x="40" y="0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/>
                <a:endParaRPr lang="fr-FR" sz="2000" dirty="0"/>
              </a:p>
            </p:txBody>
          </p:sp>
        </p:grpSp>
        <p:grpSp>
          <p:nvGrpSpPr>
            <p:cNvPr id="47" name="Etiquettes"/>
            <p:cNvGrpSpPr/>
            <p:nvPr/>
          </p:nvGrpSpPr>
          <p:grpSpPr>
            <a:xfrm>
              <a:off x="3089570" y="2526739"/>
              <a:ext cx="4654268" cy="4071692"/>
              <a:chOff x="3089570" y="2526739"/>
              <a:chExt cx="4654268" cy="4071692"/>
            </a:xfrm>
          </p:grpSpPr>
          <p:sp>
            <p:nvSpPr>
              <p:cNvPr id="48" name="Etiquette - Russia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7325587" y="3063314"/>
                <a:ext cx="33014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Russ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49" name="Etiquette - Estonia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844527" y="3336364"/>
                <a:ext cx="385553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Esto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0" name="Etiquette - Latvia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998941" y="3612589"/>
                <a:ext cx="31167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Latv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1" name="Etiquette - Lithuania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796479" y="3793565"/>
                <a:ext cx="48482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Lithua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2" name="Etiquette - Russia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613470" y="3925327"/>
                <a:ext cx="33014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Russ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3" name="Etiquette - Denmark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4802629" y="3836427"/>
                <a:ext cx="480211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Denmark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4" name="Etiquette - Norway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848372" y="3098238"/>
                <a:ext cx="41095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Norway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5" name="Etiquette - Sweden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5218334" y="3149039"/>
                <a:ext cx="41556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Sweden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6" name="Etiquette - Finland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5861559" y="2739464"/>
                <a:ext cx="38324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Finland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7" name="Etiquette - Iceland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3705660" y="2526739"/>
                <a:ext cx="378627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Iceland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8" name="Etiquette - Austria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5292292" y="4979427"/>
                <a:ext cx="37400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Austr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59" name="Etiquette - Slovenia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5363591" y="5155640"/>
                <a:ext cx="440962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Slove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0" name="Etiquette - Croatia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519452" y="5228665"/>
                <a:ext cx="38324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Croat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1" name="Etiquette - Macedonia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019171" y="5706502"/>
                <a:ext cx="58871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Macedo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2" name="Etiquette - Albania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798995" y="5822391"/>
                <a:ext cx="392481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Alba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3" name="Etiquette - Turkey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7388298" y="5646177"/>
                <a:ext cx="35554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Turkey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4" name="Etiquette - Romania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6180724" y="5068327"/>
                <a:ext cx="464049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Roman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5" name="Etiquette - Bulgaria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6218243" y="5523940"/>
                <a:ext cx="42711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Bulgar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6" name="Etiquette - Moldova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339114" y="4827028"/>
                <a:ext cx="466357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Moldov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7" name="Etiquette - Ukraine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665266" y="4457139"/>
                <a:ext cx="41095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Ukraine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8" name="Etiquette - Hungary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5670774" y="4987365"/>
                <a:ext cx="440962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Hungary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69" name="Etiquette - Slovakia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5735282" y="4746065"/>
                <a:ext cx="42941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Slovak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0" name="Etiquette - Czech Rep.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5217988" y="4666690"/>
                <a:ext cx="570249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Czech</a:t>
                </a:r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 </a:t>
                </a:r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Rep</a:t>
                </a:r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.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1" name="Etiquette - Poland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579846" y="4282514"/>
                <a:ext cx="362466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Poland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2" name="Etiquette - Belarus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6271638" y="4017401"/>
                <a:ext cx="390171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Belarus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3" name="Etiquette - Bosnia and Herzegovina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574546" y="5376302"/>
                <a:ext cx="623004" cy="456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Bosnia</a:t>
                </a:r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 and </a:t>
                </a:r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Herzegovin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4" name="Etiquette - Serbia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904776" y="5312803"/>
                <a:ext cx="330145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Serbi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5" name="Etiquette - Andorra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245847" y="5558865"/>
                <a:ext cx="431727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Andorr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6" name="Etiquette - Italy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5259808" y="5658878"/>
                <a:ext cx="226253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Italy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7" name="Etiquette - France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269652" y="4992127"/>
                <a:ext cx="35554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France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8" name="Etiquette - Switzerland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700754" y="5057215"/>
                <a:ext cx="614114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Switzerland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79" name="Etiquette - Germany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923715" y="4419039"/>
                <a:ext cx="48251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Germany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0" name="Etiquette - Netherlands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26625" y="4269814"/>
                <a:ext cx="646436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Netherlands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1" name="Etiquette - Luxembourg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669657" y="4663514"/>
                <a:ext cx="655670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Luxembourg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2" name="Etiquette - Belgium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66003" y="4525402"/>
                <a:ext cx="424802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Belgium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3" name="Etiquette - Spain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699447" y="5897002"/>
                <a:ext cx="286279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Spain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4" name="Etiquette - Portugal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089570" y="5731902"/>
                <a:ext cx="445579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Portugal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5" name="Etiquette - Great Britain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156909" y="4219015"/>
                <a:ext cx="255588" cy="6086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Great </a:t>
                </a:r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Britain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6" name="Etiquette - Ireland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646777" y="4017401"/>
                <a:ext cx="369391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Ireland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7" name="Etiquette - Greece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6140451" y="5995427"/>
                <a:ext cx="376318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Greece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8" name="Etiquette - Cyprus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7218867" y="6403416"/>
                <a:ext cx="357849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Cyprus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89" name="Etiquette - Malta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5880242" y="6446277"/>
                <a:ext cx="309366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smtClean="0">
                    <a:solidFill>
                      <a:srgbClr val="000000"/>
                    </a:solidFill>
                    <a:latin typeface="+mn-lt"/>
                  </a:rPr>
                  <a:t>Malta</a:t>
                </a:r>
                <a:endParaRPr lang="fr-FR" altLang="fr-FR" sz="1600" dirty="0">
                  <a:latin typeface="+mn-lt"/>
                </a:endParaRPr>
              </a:p>
            </p:txBody>
          </p:sp>
          <p:sp>
            <p:nvSpPr>
              <p:cNvPr id="90" name="Etiquette - Montenegro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5705213" y="5558865"/>
                <a:ext cx="662596" cy="152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fr-FR" altLang="fr-FR" sz="700" dirty="0" err="1" smtClean="0">
                    <a:solidFill>
                      <a:srgbClr val="000000"/>
                    </a:solidFill>
                    <a:latin typeface="+mn-lt"/>
                  </a:rPr>
                  <a:t>Montenegro</a:t>
                </a:r>
                <a:endParaRPr lang="fr-FR" altLang="fr-FR" sz="1600" dirty="0">
                  <a:latin typeface="+mn-lt"/>
                </a:endParaRPr>
              </a:p>
            </p:txBody>
          </p:sp>
        </p:grpSp>
      </p:grp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smtClean="0"/>
              <a:t>RGPD: la continuité des pratiques de normalisation et de conformité.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86521" y="979954"/>
            <a:ext cx="10763199" cy="317890"/>
          </a:xfrm>
        </p:spPr>
        <p:txBody>
          <a:bodyPr>
            <a:noAutofit/>
          </a:bodyPr>
          <a:lstStyle/>
          <a:p>
            <a:r>
              <a:rPr lang="fr-FR" sz="1800" dirty="0" smtClean="0"/>
              <a:t>Nous assistons au fil du temps à l’imposition de normes et de lois en terme de protection des données.</a:t>
            </a:r>
          </a:p>
          <a:p>
            <a:endParaRPr lang="fr-FR" sz="1800" dirty="0" smtClean="0"/>
          </a:p>
          <a:p>
            <a:endParaRPr lang="fr-FR" sz="1800" dirty="0" smtClean="0"/>
          </a:p>
          <a:p>
            <a:endParaRPr lang="fr-FR" sz="1800" dirty="0" smtClean="0"/>
          </a:p>
          <a:p>
            <a:endParaRPr lang="fr-FR" sz="1800" dirty="0" smtClean="0"/>
          </a:p>
          <a:p>
            <a:endParaRPr lang="fr-FR" sz="1800" dirty="0" smtClean="0"/>
          </a:p>
        </p:txBody>
      </p:sp>
      <p:sp>
        <p:nvSpPr>
          <p:cNvPr id="5" name="Rectangle à coins arrondis 5"/>
          <p:cNvSpPr/>
          <p:nvPr/>
        </p:nvSpPr>
        <p:spPr>
          <a:xfrm>
            <a:off x="686073" y="2150407"/>
            <a:ext cx="1365367" cy="316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ISO 9001</a:t>
            </a:r>
            <a:endParaRPr lang="fr-FR" sz="1400" dirty="0">
              <a:solidFill>
                <a:srgbClr val="0868B1"/>
              </a:solidFill>
            </a:endParaRPr>
          </a:p>
        </p:txBody>
      </p:sp>
      <p:sp>
        <p:nvSpPr>
          <p:cNvPr id="6" name="Rectangle à coins arrondis 6"/>
          <p:cNvSpPr/>
          <p:nvPr/>
        </p:nvSpPr>
        <p:spPr>
          <a:xfrm>
            <a:off x="2321168" y="2150405"/>
            <a:ext cx="1365367" cy="316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ISO 20000</a:t>
            </a:r>
            <a:endParaRPr lang="fr-FR" sz="1400" dirty="0">
              <a:solidFill>
                <a:srgbClr val="0868B1"/>
              </a:solidFill>
            </a:endParaRPr>
          </a:p>
        </p:txBody>
      </p:sp>
      <p:sp>
        <p:nvSpPr>
          <p:cNvPr id="7" name="Rectangle à coins arrondis 7"/>
          <p:cNvSpPr/>
          <p:nvPr/>
        </p:nvSpPr>
        <p:spPr>
          <a:xfrm>
            <a:off x="3956264" y="2150405"/>
            <a:ext cx="1365367" cy="316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ISO 27001</a:t>
            </a:r>
            <a:endParaRPr lang="fr-FR" sz="1400" dirty="0">
              <a:solidFill>
                <a:srgbClr val="0868B1"/>
              </a:solidFill>
            </a:endParaRPr>
          </a:p>
        </p:txBody>
      </p:sp>
      <p:cxnSp>
        <p:nvCxnSpPr>
          <p:cNvPr id="8" name="Connecteur droit avec flèche 9"/>
          <p:cNvCxnSpPr>
            <a:stCxn id="5" idx="3"/>
            <a:endCxn id="6" idx="1"/>
          </p:cNvCxnSpPr>
          <p:nvPr/>
        </p:nvCxnSpPr>
        <p:spPr>
          <a:xfrm flipV="1">
            <a:off x="2051440" y="2308428"/>
            <a:ext cx="269728" cy="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11"/>
          <p:cNvCxnSpPr>
            <a:stCxn id="6" idx="3"/>
            <a:endCxn id="7" idx="1"/>
          </p:cNvCxnSpPr>
          <p:nvPr/>
        </p:nvCxnSpPr>
        <p:spPr>
          <a:xfrm>
            <a:off x="3686535" y="2308428"/>
            <a:ext cx="2697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12"/>
          <p:cNvSpPr txBox="1"/>
          <p:nvPr/>
        </p:nvSpPr>
        <p:spPr>
          <a:xfrm>
            <a:off x="591088" y="2451146"/>
            <a:ext cx="1555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</a:rPr>
              <a:t>Management de la Qualité</a:t>
            </a:r>
            <a:endParaRPr lang="fr-FR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ZoneTexte 13"/>
          <p:cNvSpPr txBox="1"/>
          <p:nvPr/>
        </p:nvSpPr>
        <p:spPr>
          <a:xfrm>
            <a:off x="2226183" y="2451146"/>
            <a:ext cx="15553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</a:rPr>
              <a:t>ITIL pour l’entreprise</a:t>
            </a:r>
            <a:endParaRPr lang="fr-FR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ZoneTexte 14"/>
          <p:cNvSpPr txBox="1"/>
          <p:nvPr/>
        </p:nvSpPr>
        <p:spPr>
          <a:xfrm>
            <a:off x="3861278" y="2451146"/>
            <a:ext cx="1555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>
                <a:solidFill>
                  <a:schemeClr val="bg1">
                    <a:lumMod val="50000"/>
                  </a:schemeClr>
                </a:solidFill>
              </a:rPr>
              <a:t>Management de la sécurité</a:t>
            </a:r>
            <a:endParaRPr lang="fr-FR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à coins arrondis 15"/>
          <p:cNvSpPr/>
          <p:nvPr/>
        </p:nvSpPr>
        <p:spPr>
          <a:xfrm>
            <a:off x="6270300" y="2481359"/>
            <a:ext cx="1365367" cy="316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PCI-DSS</a:t>
            </a:r>
            <a:endParaRPr lang="fr-FR" sz="1400" dirty="0">
              <a:solidFill>
                <a:srgbClr val="0868B1"/>
              </a:solidFill>
            </a:endParaRPr>
          </a:p>
        </p:txBody>
      </p:sp>
      <p:sp>
        <p:nvSpPr>
          <p:cNvPr id="14" name="ZoneTexte 16"/>
          <p:cNvSpPr txBox="1"/>
          <p:nvPr/>
        </p:nvSpPr>
        <p:spPr>
          <a:xfrm>
            <a:off x="6159370" y="2862626"/>
            <a:ext cx="15553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Données bancaires</a:t>
            </a: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Rectangle à coins arrondis 22"/>
          <p:cNvSpPr/>
          <p:nvPr/>
        </p:nvSpPr>
        <p:spPr>
          <a:xfrm>
            <a:off x="6270300" y="3612760"/>
            <a:ext cx="1365367" cy="31604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ASIP/HADS</a:t>
            </a:r>
            <a:endParaRPr lang="fr-FR" sz="1400" dirty="0">
              <a:solidFill>
                <a:srgbClr val="0868B1"/>
              </a:solidFill>
            </a:endParaRPr>
          </a:p>
        </p:txBody>
      </p:sp>
      <p:sp>
        <p:nvSpPr>
          <p:cNvPr id="20" name="ZoneTexte 23"/>
          <p:cNvSpPr txBox="1"/>
          <p:nvPr/>
        </p:nvSpPr>
        <p:spPr>
          <a:xfrm>
            <a:off x="6175315" y="3889698"/>
            <a:ext cx="15553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Données médicales</a:t>
            </a: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tangle à coins arrondis 24"/>
          <p:cNvSpPr/>
          <p:nvPr/>
        </p:nvSpPr>
        <p:spPr>
          <a:xfrm>
            <a:off x="6325164" y="4744160"/>
            <a:ext cx="1365367" cy="45137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err="1" smtClean="0">
                <a:solidFill>
                  <a:srgbClr val="0868B1"/>
                </a:solidFill>
              </a:rPr>
              <a:t>SecNum</a:t>
            </a:r>
            <a:endParaRPr lang="fr-FR" sz="1400" dirty="0" smtClean="0">
              <a:solidFill>
                <a:srgbClr val="0868B1"/>
              </a:solidFill>
            </a:endParaRPr>
          </a:p>
          <a:p>
            <a:pPr algn="ctr"/>
            <a:r>
              <a:rPr lang="fr-FR" sz="1400" dirty="0" smtClean="0">
                <a:solidFill>
                  <a:srgbClr val="0868B1"/>
                </a:solidFill>
              </a:rPr>
              <a:t>Cloud</a:t>
            </a:r>
            <a:endParaRPr lang="fr-FR" sz="1400" dirty="0">
              <a:solidFill>
                <a:srgbClr val="0868B1"/>
              </a:solidFill>
            </a:endParaRPr>
          </a:p>
        </p:txBody>
      </p:sp>
      <p:sp>
        <p:nvSpPr>
          <p:cNvPr id="22" name="ZoneTexte 25"/>
          <p:cNvSpPr txBox="1"/>
          <p:nvPr/>
        </p:nvSpPr>
        <p:spPr>
          <a:xfrm>
            <a:off x="6226115" y="5193173"/>
            <a:ext cx="15553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ANSSI</a:t>
            </a:r>
          </a:p>
          <a:p>
            <a:pPr algn="ctr"/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« Hébergeur de confiance »</a:t>
            </a: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23" name="Connecteur droit avec flèche 27"/>
          <p:cNvCxnSpPr>
            <a:stCxn id="7" idx="3"/>
            <a:endCxn id="13" idx="1"/>
          </p:cNvCxnSpPr>
          <p:nvPr/>
        </p:nvCxnSpPr>
        <p:spPr>
          <a:xfrm>
            <a:off x="5321631" y="2308428"/>
            <a:ext cx="948669" cy="330954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9"/>
          <p:cNvCxnSpPr>
            <a:stCxn id="7" idx="3"/>
            <a:endCxn id="19" idx="1"/>
          </p:cNvCxnSpPr>
          <p:nvPr/>
        </p:nvCxnSpPr>
        <p:spPr>
          <a:xfrm>
            <a:off x="5321631" y="2308428"/>
            <a:ext cx="948669" cy="1462355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avec flèche 31"/>
          <p:cNvCxnSpPr>
            <a:stCxn id="7" idx="3"/>
            <a:endCxn id="21" idx="1"/>
          </p:cNvCxnSpPr>
          <p:nvPr/>
        </p:nvCxnSpPr>
        <p:spPr>
          <a:xfrm>
            <a:off x="5321631" y="2308428"/>
            <a:ext cx="1003533" cy="2661420"/>
          </a:xfrm>
          <a:prstGeom prst="straightConnector1">
            <a:avLst/>
          </a:prstGeom>
          <a:ln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33"/>
          <p:cNvCxnSpPr/>
          <p:nvPr/>
        </p:nvCxnSpPr>
        <p:spPr>
          <a:xfrm>
            <a:off x="10006333" y="1880114"/>
            <a:ext cx="17092" cy="3848615"/>
          </a:xfrm>
          <a:prstGeom prst="line">
            <a:avLst/>
          </a:prstGeom>
          <a:ln w="28575" cmpd="sng">
            <a:solidFill>
              <a:srgbClr val="FF0000">
                <a:alpha val="32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à coins arrondis 34"/>
          <p:cNvSpPr/>
          <p:nvPr/>
        </p:nvSpPr>
        <p:spPr>
          <a:xfrm>
            <a:off x="10094405" y="5360894"/>
            <a:ext cx="1365367" cy="316045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 smtClean="0"/>
              <a:t>RGPD</a:t>
            </a:r>
            <a:r>
              <a:rPr lang="fr-FR" sz="1400" baseline="30000" dirty="0" smtClean="0"/>
              <a:t>(*)</a:t>
            </a:r>
            <a:endParaRPr lang="fr-FR" sz="1400" baseline="30000" dirty="0"/>
          </a:p>
        </p:txBody>
      </p:sp>
      <p:sp>
        <p:nvSpPr>
          <p:cNvPr id="28" name="ZoneTexte 35"/>
          <p:cNvSpPr txBox="1"/>
          <p:nvPr/>
        </p:nvSpPr>
        <p:spPr>
          <a:xfrm>
            <a:off x="7808035" y="5689848"/>
            <a:ext cx="30238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Protection données personnelles EU</a:t>
            </a:r>
            <a:endParaRPr lang="fr-FR" dirty="0"/>
          </a:p>
        </p:txBody>
      </p:sp>
      <p:sp>
        <p:nvSpPr>
          <p:cNvPr id="29" name="Rectangle à coins arrondis 36"/>
          <p:cNvSpPr/>
          <p:nvPr/>
        </p:nvSpPr>
        <p:spPr>
          <a:xfrm>
            <a:off x="9307041" y="1869976"/>
            <a:ext cx="1396258" cy="297674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rgbClr val="FF0000"/>
                </a:solidFill>
              </a:rPr>
              <a:t>25 mai 2018</a:t>
            </a:r>
            <a:endParaRPr lang="fr-FR" dirty="0">
              <a:solidFill>
                <a:srgbClr val="FF0000"/>
              </a:solidFill>
            </a:endParaRPr>
          </a:p>
        </p:txBody>
      </p:sp>
      <p:cxnSp>
        <p:nvCxnSpPr>
          <p:cNvPr id="30" name="Connecteur droit avec flèche 38"/>
          <p:cNvCxnSpPr>
            <a:stCxn id="13" idx="3"/>
            <a:endCxn id="27" idx="1"/>
          </p:cNvCxnSpPr>
          <p:nvPr/>
        </p:nvCxnSpPr>
        <p:spPr>
          <a:xfrm>
            <a:off x="7635667" y="2639382"/>
            <a:ext cx="2458738" cy="2879535"/>
          </a:xfrm>
          <a:prstGeom prst="straightConnector1">
            <a:avLst/>
          </a:prstGeom>
          <a:ln>
            <a:solidFill>
              <a:srgbClr val="00206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avec flèche 40"/>
          <p:cNvCxnSpPr>
            <a:stCxn id="19" idx="3"/>
            <a:endCxn id="27" idx="1"/>
          </p:cNvCxnSpPr>
          <p:nvPr/>
        </p:nvCxnSpPr>
        <p:spPr>
          <a:xfrm>
            <a:off x="7635667" y="3770783"/>
            <a:ext cx="2458738" cy="1748134"/>
          </a:xfrm>
          <a:prstGeom prst="straightConnector1">
            <a:avLst/>
          </a:prstGeom>
          <a:ln>
            <a:solidFill>
              <a:srgbClr val="00206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42"/>
          <p:cNvCxnSpPr>
            <a:stCxn id="21" idx="3"/>
            <a:endCxn id="27" idx="1"/>
          </p:cNvCxnSpPr>
          <p:nvPr/>
        </p:nvCxnSpPr>
        <p:spPr>
          <a:xfrm>
            <a:off x="7690531" y="4969848"/>
            <a:ext cx="2403874" cy="549069"/>
          </a:xfrm>
          <a:prstGeom prst="straightConnector1">
            <a:avLst/>
          </a:prstGeom>
          <a:ln>
            <a:solidFill>
              <a:srgbClr val="00206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0189057" y="6189904"/>
            <a:ext cx="19650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baseline="30000" dirty="0" smtClean="0"/>
              <a:t>(*)</a:t>
            </a:r>
            <a:r>
              <a:rPr lang="fr-FR" sz="700" dirty="0" smtClean="0"/>
              <a:t> RGPD: Règlementation Générale pour la Protection des Données (GDPR en anglais)</a:t>
            </a:r>
            <a:endParaRPr lang="fr-FR" sz="700" dirty="0"/>
          </a:p>
        </p:txBody>
      </p:sp>
      <p:sp>
        <p:nvSpPr>
          <p:cNvPr id="144" name="TextBox 143"/>
          <p:cNvSpPr txBox="1"/>
          <p:nvPr/>
        </p:nvSpPr>
        <p:spPr>
          <a:xfrm>
            <a:off x="562803" y="3223932"/>
            <a:ext cx="5038049" cy="2693045"/>
          </a:xfrm>
          <a:prstGeom prst="rect">
            <a:avLst/>
          </a:prstGeom>
        </p:spPr>
        <p:txBody>
          <a:bodyPr vert="horz" lIns="91440" tIns="45720" rIns="91440" bIns="45720" numCol="1" rtlCol="0">
            <a:normAutofit lnSpcReduction="10000"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36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>
                <a:latin typeface="Arial" charset="0"/>
                <a:ea typeface="Arial" charset="0"/>
                <a:cs typeface="Arial" charset="0"/>
              </a:defRPr>
            </a:lvl2pPr>
            <a:lvl3pPr marL="720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>
                <a:latin typeface="Arial" charset="0"/>
                <a:ea typeface="Arial" charset="0"/>
                <a:cs typeface="Arial" charset="0"/>
              </a:defRPr>
            </a:lvl3pPr>
            <a:lvl4pPr marL="1080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>
                <a:latin typeface="Arial" charset="0"/>
                <a:ea typeface="Arial" charset="0"/>
                <a:cs typeface="Arial" charset="0"/>
              </a:defRPr>
            </a:lvl4pPr>
            <a:lvl5pPr marL="1440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00">
                <a:latin typeface="Arial" charset="0"/>
                <a:ea typeface="Arial" charset="0"/>
                <a:cs typeface="Arial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dirty="0" smtClean="0">
                <a:solidFill>
                  <a:schemeClr val="tx1"/>
                </a:solidFill>
              </a:rPr>
              <a:t>En </a:t>
            </a:r>
            <a:r>
              <a:rPr lang="fr-FR" u="sng" dirty="0" smtClean="0">
                <a:solidFill>
                  <a:srgbClr val="FF0000"/>
                </a:solidFill>
              </a:rPr>
              <a:t>mai 2018</a:t>
            </a:r>
            <a:r>
              <a:rPr lang="fr-FR" dirty="0" smtClean="0">
                <a:solidFill>
                  <a:schemeClr val="tx1"/>
                </a:solidFill>
              </a:rPr>
              <a:t>, la directive « RGPD(*) » sera applicable dans tous les états membres de l’union européenne ET sans nécessité de traduction dans le droit françai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dirty="0" smtClean="0">
                <a:solidFill>
                  <a:srgbClr val="002060"/>
                </a:solidFill>
              </a:rPr>
              <a:t>Toute organisation qui </a:t>
            </a:r>
            <a:r>
              <a:rPr lang="fr-FR" dirty="0">
                <a:solidFill>
                  <a:srgbClr val="002060"/>
                </a:solidFill>
              </a:rPr>
              <a:t>ne sera pas en conformité avec RGPD se verra sanctionner financièrement selon deux niveaux:</a:t>
            </a:r>
          </a:p>
          <a:p>
            <a:pPr lvl="1" indent="0">
              <a:buNone/>
            </a:pPr>
            <a:r>
              <a:rPr lang="fr-FR" sz="1500" dirty="0">
                <a:solidFill>
                  <a:srgbClr val="002060"/>
                </a:solidFill>
              </a:rPr>
              <a:t>- Jusqu’à 10M€ ou 2% du CA annuel MONDIAL en cas de </a:t>
            </a:r>
            <a:r>
              <a:rPr lang="fr-FR" sz="1500" u="sng" dirty="0">
                <a:solidFill>
                  <a:srgbClr val="002060"/>
                </a:solidFill>
              </a:rPr>
              <a:t>défaut de mise en œuvre</a:t>
            </a:r>
            <a:r>
              <a:rPr lang="fr-FR" sz="1500" dirty="0">
                <a:solidFill>
                  <a:srgbClr val="002060"/>
                </a:solidFill>
              </a:rPr>
              <a:t>.</a:t>
            </a:r>
          </a:p>
          <a:p>
            <a:pPr lvl="1" indent="0">
              <a:buNone/>
            </a:pPr>
            <a:r>
              <a:rPr lang="fr-FR" sz="1500" dirty="0">
                <a:solidFill>
                  <a:srgbClr val="002060"/>
                </a:solidFill>
              </a:rPr>
              <a:t>- Jusqu’à 20M€ ou 4% du CA annuel MONDIAL en cas de </a:t>
            </a:r>
            <a:r>
              <a:rPr lang="fr-FR" sz="1500" u="sng" dirty="0">
                <a:solidFill>
                  <a:srgbClr val="002060"/>
                </a:solidFill>
              </a:rPr>
              <a:t>transfert de données à des tiers non conformes</a:t>
            </a:r>
            <a:r>
              <a:rPr lang="fr-FR" sz="1500" dirty="0">
                <a:solidFill>
                  <a:srgbClr val="002060"/>
                </a:solidFill>
              </a:rPr>
              <a:t>. </a:t>
            </a:r>
          </a:p>
          <a:p>
            <a:endParaRPr lang="fr-FR" dirty="0"/>
          </a:p>
        </p:txBody>
      </p:sp>
      <p:sp>
        <p:nvSpPr>
          <p:cNvPr id="145" name="Rounded Rectangle 144"/>
          <p:cNvSpPr/>
          <p:nvPr/>
        </p:nvSpPr>
        <p:spPr>
          <a:xfrm>
            <a:off x="310896" y="1623770"/>
            <a:ext cx="7720638" cy="4892670"/>
          </a:xfrm>
          <a:prstGeom prst="roundRect">
            <a:avLst>
              <a:gd name="adj" fmla="val 4928"/>
            </a:avLst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Rectangle à coins arrondis 17"/>
          <p:cNvSpPr/>
          <p:nvPr/>
        </p:nvSpPr>
        <p:spPr>
          <a:xfrm>
            <a:off x="6270300" y="1440504"/>
            <a:ext cx="1456323" cy="38690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r>
              <a:rPr lang="fr-FR" dirty="0" smtClean="0">
                <a:solidFill>
                  <a:schemeClr val="bg1"/>
                </a:solidFill>
              </a:rPr>
              <a:t>Certifications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46" name="Rounded Rectangle 145"/>
          <p:cNvSpPr/>
          <p:nvPr/>
        </p:nvSpPr>
        <p:spPr>
          <a:xfrm>
            <a:off x="8157722" y="1623770"/>
            <a:ext cx="3878290" cy="4900158"/>
          </a:xfrm>
          <a:prstGeom prst="roundRect">
            <a:avLst>
              <a:gd name="adj" fmla="val 6107"/>
            </a:avLst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" name="Rectangle à coins arrondis 18"/>
          <p:cNvSpPr/>
          <p:nvPr/>
        </p:nvSpPr>
        <p:spPr>
          <a:xfrm>
            <a:off x="8573796" y="1424866"/>
            <a:ext cx="940857" cy="386904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36000" tIns="36000" rIns="36000" bIns="36000" rtlCol="0" anchor="ctr">
            <a:spAutoFit/>
          </a:bodyPr>
          <a:lstStyle/>
          <a:p>
            <a:pPr algn="ctr"/>
            <a:r>
              <a:rPr lang="fr-FR" dirty="0" smtClean="0"/>
              <a:t>Directive</a:t>
            </a:r>
            <a:endParaRPr lang="fr-FR" dirty="0"/>
          </a:p>
        </p:txBody>
      </p:sp>
      <p:pic>
        <p:nvPicPr>
          <p:cNvPr id="147" name="Picture 6" descr="ésultat de recherche d'images pour &quot;deadline&quot;"/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95278" y="5023465"/>
            <a:ext cx="1254191" cy="835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2" descr="ésultat de recherche d'images pour &quot;donnees personnelles&quot;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4651" y="2742269"/>
            <a:ext cx="1071925" cy="566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040" y="2191259"/>
            <a:ext cx="518445" cy="396935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4463" y="3278620"/>
            <a:ext cx="435432" cy="593929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497" y="4500998"/>
            <a:ext cx="380770" cy="38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768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500"/>
                            </p:stCondLst>
                            <p:childTnLst>
                              <p:par>
                                <p:cTn id="10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1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1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1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1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0"/>
                                        <p:tgtEl>
                                          <p:spTgt spid="1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1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14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00"/>
                            </p:stCondLst>
                            <p:childTnLst>
                              <p:par>
                                <p:cTn id="15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5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9" dur="5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1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500"/>
                            </p:stCondLst>
                            <p:childTnLst>
                              <p:par>
                                <p:cTn id="16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1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1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14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animBg="1"/>
      <p:bldP spid="6" grpId="0" animBg="1"/>
      <p:bldP spid="7" grpId="0" animBg="1"/>
      <p:bldP spid="10" grpId="0"/>
      <p:bldP spid="11" grpId="0"/>
      <p:bldP spid="12" grpId="0"/>
      <p:bldP spid="13" grpId="0" animBg="1"/>
      <p:bldP spid="14" grpId="0"/>
      <p:bldP spid="19" grpId="0" animBg="1"/>
      <p:bldP spid="20" grpId="0"/>
      <p:bldP spid="21" grpId="0" animBg="1"/>
      <p:bldP spid="22" grpId="0"/>
      <p:bldP spid="27" grpId="0" animBg="1"/>
      <p:bldP spid="28" grpId="0"/>
      <p:bldP spid="29" grpId="0" animBg="1"/>
      <p:bldP spid="43" grpId="0"/>
      <p:bldP spid="145" grpId="0" animBg="1"/>
      <p:bldP spid="15" grpId="0" animBg="1"/>
      <p:bldP spid="146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ounded Rectangle 54"/>
          <p:cNvSpPr/>
          <p:nvPr/>
        </p:nvSpPr>
        <p:spPr>
          <a:xfrm>
            <a:off x="1879600" y="2406160"/>
            <a:ext cx="8383150" cy="3423920"/>
          </a:xfrm>
          <a:prstGeom prst="roundRect">
            <a:avLst>
              <a:gd name="adj" fmla="val 4501"/>
            </a:avLst>
          </a:prstGeom>
          <a:solidFill>
            <a:schemeClr val="bg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t"/>
          <a:lstStyle/>
          <a:p>
            <a:r>
              <a:rPr lang="fr-FR" dirty="0">
                <a:solidFill>
                  <a:schemeClr val="tx1"/>
                </a:solidFill>
              </a:rPr>
              <a:t>Les différents volets inclus dans la GDPR</a:t>
            </a:r>
            <a:r>
              <a:rPr lang="fr-FR" dirty="0" smtClean="0">
                <a:solidFill>
                  <a:schemeClr val="tx1"/>
                </a:solidFill>
              </a:rPr>
              <a:t>: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smtClean="0"/>
              <a:t>RGPD: une sensibilisation régalienne à la gestion et la protection des données personnelles 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02041" y="847873"/>
            <a:ext cx="12008679" cy="1629427"/>
          </a:xfrm>
        </p:spPr>
        <p:txBody>
          <a:bodyPr>
            <a:noAutofit/>
          </a:bodyPr>
          <a:lstStyle/>
          <a:p>
            <a:r>
              <a:rPr lang="fr-FR" sz="1400" b="1" dirty="0" smtClean="0">
                <a:solidFill>
                  <a:schemeClr val="tx1"/>
                </a:solidFill>
              </a:rPr>
              <a:t>Un mot clé dans une phrase capitale:</a:t>
            </a:r>
          </a:p>
          <a:p>
            <a:r>
              <a:rPr lang="fr-FR" sz="1400" b="1" dirty="0" smtClean="0">
                <a:solidFill>
                  <a:schemeClr val="tx1"/>
                </a:solidFill>
              </a:rPr>
              <a:t>« </a:t>
            </a:r>
            <a:r>
              <a:rPr lang="fr-FR" sz="1400" b="1" i="1" dirty="0" smtClean="0">
                <a:solidFill>
                  <a:schemeClr val="accent5">
                    <a:lumMod val="75000"/>
                  </a:schemeClr>
                </a:solidFill>
              </a:rPr>
              <a:t>La protection des personnes physiques à l’égard du traitement des données à caractère personnel est un </a:t>
            </a:r>
            <a:r>
              <a:rPr lang="fr-FR" sz="1400" b="1" i="1" dirty="0" smtClean="0">
                <a:solidFill>
                  <a:srgbClr val="0070C0"/>
                </a:solidFill>
              </a:rPr>
              <a:t>droit fondamental</a:t>
            </a:r>
            <a:r>
              <a:rPr lang="fr-FR" sz="1400" b="1" dirty="0" smtClean="0">
                <a:solidFill>
                  <a:schemeClr val="tx1"/>
                </a:solidFill>
              </a:rPr>
              <a:t> ».</a:t>
            </a:r>
          </a:p>
          <a:p>
            <a:r>
              <a:rPr lang="fr-FR" sz="1400" dirty="0" smtClean="0"/>
              <a:t>Ce corpus de 99 articles, dont l’objectif affiché est d’«</a:t>
            </a:r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fr-FR" sz="1400" i="1" dirty="0" smtClean="0">
                <a:solidFill>
                  <a:schemeClr val="tx1"/>
                </a:solidFill>
              </a:rPr>
              <a:t>harmoniser la protection […] des personnes physiques en ce qui concerne les activités de traitement et [d’] assurer le libre flux des données à caractère personnel entre les Etats membres</a:t>
            </a:r>
            <a:r>
              <a:rPr lang="fr-FR" sz="1400" dirty="0" smtClean="0"/>
              <a:t> », s’imposera alors à </a:t>
            </a:r>
            <a:r>
              <a:rPr lang="fr-FR" sz="1400" u="sng" dirty="0" smtClean="0"/>
              <a:t>l’ensemble des entreprises et des organisations (établies ou non sur le sol européen) </a:t>
            </a:r>
            <a:r>
              <a:rPr lang="fr-FR" sz="1400" dirty="0" smtClean="0"/>
              <a:t>détenant des données personnelles de </a:t>
            </a:r>
            <a:r>
              <a:rPr lang="fr-FR" sz="1400" u="sng" dirty="0" smtClean="0"/>
              <a:t>résidents européens</a:t>
            </a:r>
            <a:r>
              <a:rPr lang="fr-FR" sz="1400" dirty="0" smtClean="0"/>
              <a:t>, ou ciblant ces derniers.</a:t>
            </a:r>
            <a:endParaRPr lang="fr-FR" sz="1400" dirty="0"/>
          </a:p>
        </p:txBody>
      </p:sp>
      <p:sp>
        <p:nvSpPr>
          <p:cNvPr id="8" name="Oval 7"/>
          <p:cNvSpPr/>
          <p:nvPr/>
        </p:nvSpPr>
        <p:spPr>
          <a:xfrm>
            <a:off x="6163320" y="3645680"/>
            <a:ext cx="1676400" cy="97536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2800" b="1" dirty="0" smtClean="0">
                <a:solidFill>
                  <a:schemeClr val="bg1">
                    <a:lumMod val="85000"/>
                  </a:schemeClr>
                </a:solidFill>
              </a:rPr>
              <a:t>GDPR</a:t>
            </a:r>
            <a:endParaRPr lang="fr-FR" sz="2800" b="1" dirty="0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13" name="Straight Connector 12"/>
          <p:cNvCxnSpPr>
            <a:stCxn id="8" idx="0"/>
            <a:endCxn id="17" idx="2"/>
          </p:cNvCxnSpPr>
          <p:nvPr/>
        </p:nvCxnSpPr>
        <p:spPr>
          <a:xfrm flipV="1">
            <a:off x="7001520" y="2945899"/>
            <a:ext cx="0" cy="699781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6386840" y="2509019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Privacy</a:t>
            </a:r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 Impact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Assessment</a:t>
            </a:r>
            <a:endParaRPr lang="fr-FR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602381" y="3080706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>
                <a:solidFill>
                  <a:schemeClr val="accent2"/>
                </a:solidFill>
              </a:rPr>
              <a:t>Personal</a:t>
            </a:r>
            <a:r>
              <a:rPr lang="fr-FR" sz="1200" dirty="0">
                <a:solidFill>
                  <a:schemeClr val="accent2"/>
                </a:solidFill>
              </a:rPr>
              <a:t> Data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945835" y="3906146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Data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Portability</a:t>
            </a:r>
            <a:endParaRPr lang="fr-FR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4602381" y="4778507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Consent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386840" y="5275396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Right to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be</a:t>
            </a:r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forgotten</a:t>
            </a:r>
            <a:endParaRPr lang="fr-FR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8058977" y="4781304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Data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Breach</a:t>
            </a:r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 Notification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8818605" y="3914920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Data Protection </a:t>
            </a:r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Officer</a:t>
            </a:r>
            <a:endParaRPr lang="fr-FR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8058977" y="3063978"/>
            <a:ext cx="1229360" cy="436880"/>
          </a:xfrm>
          <a:prstGeom prst="round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err="1">
                <a:solidFill>
                  <a:schemeClr val="accent1">
                    <a:lumMod val="75000"/>
                  </a:schemeClr>
                </a:solidFill>
              </a:rPr>
              <a:t>Protect</a:t>
            </a:r>
            <a:r>
              <a:rPr lang="fr-FR" sz="1200" dirty="0">
                <a:solidFill>
                  <a:schemeClr val="accent1">
                    <a:lumMod val="75000"/>
                  </a:schemeClr>
                </a:solidFill>
              </a:rPr>
              <a:t> by design</a:t>
            </a:r>
          </a:p>
        </p:txBody>
      </p:sp>
      <p:cxnSp>
        <p:nvCxnSpPr>
          <p:cNvPr id="25" name="Straight Connector 24"/>
          <p:cNvCxnSpPr>
            <a:stCxn id="8" idx="1"/>
            <a:endCxn id="18" idx="3"/>
          </p:cNvCxnSpPr>
          <p:nvPr/>
        </p:nvCxnSpPr>
        <p:spPr>
          <a:xfrm flipH="1" flipV="1">
            <a:off x="5831741" y="3299146"/>
            <a:ext cx="577082" cy="489372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8" idx="2"/>
            <a:endCxn id="19" idx="3"/>
          </p:cNvCxnSpPr>
          <p:nvPr/>
        </p:nvCxnSpPr>
        <p:spPr>
          <a:xfrm flipH="1" flipV="1">
            <a:off x="5175195" y="4124586"/>
            <a:ext cx="988125" cy="8774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8" idx="3"/>
            <a:endCxn id="20" idx="3"/>
          </p:cNvCxnSpPr>
          <p:nvPr/>
        </p:nvCxnSpPr>
        <p:spPr>
          <a:xfrm flipH="1">
            <a:off x="5831741" y="4478202"/>
            <a:ext cx="577082" cy="518745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8" idx="4"/>
            <a:endCxn id="21" idx="0"/>
          </p:cNvCxnSpPr>
          <p:nvPr/>
        </p:nvCxnSpPr>
        <p:spPr>
          <a:xfrm>
            <a:off x="7001520" y="4621040"/>
            <a:ext cx="0" cy="654356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8" idx="5"/>
            <a:endCxn id="22" idx="1"/>
          </p:cNvCxnSpPr>
          <p:nvPr/>
        </p:nvCxnSpPr>
        <p:spPr>
          <a:xfrm>
            <a:off x="7594217" y="4478202"/>
            <a:ext cx="464760" cy="521542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stCxn id="8" idx="6"/>
            <a:endCxn id="23" idx="1"/>
          </p:cNvCxnSpPr>
          <p:nvPr/>
        </p:nvCxnSpPr>
        <p:spPr>
          <a:xfrm>
            <a:off x="7839720" y="4133360"/>
            <a:ext cx="978885" cy="0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24" idx="1"/>
            <a:endCxn id="8" idx="7"/>
          </p:cNvCxnSpPr>
          <p:nvPr/>
        </p:nvCxnSpPr>
        <p:spPr>
          <a:xfrm flipH="1">
            <a:off x="7594217" y="3282418"/>
            <a:ext cx="464760" cy="506100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ular Callout 32"/>
          <p:cNvSpPr/>
          <p:nvPr/>
        </p:nvSpPr>
        <p:spPr>
          <a:xfrm>
            <a:off x="1967743" y="5435502"/>
            <a:ext cx="4147503" cy="830059"/>
          </a:xfrm>
          <a:prstGeom prst="wedgeRectCallout">
            <a:avLst>
              <a:gd name="adj1" fmla="val 29796"/>
              <a:gd name="adj2" fmla="val -8794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Chaque personne physique doit avoir donné son consentement explicite au stockage d’informations le concernant.</a:t>
            </a:r>
            <a:endParaRPr lang="fr-FR" dirty="0"/>
          </a:p>
        </p:txBody>
      </p:sp>
      <p:sp>
        <p:nvSpPr>
          <p:cNvPr id="36" name="Rectangular Callout 35"/>
          <p:cNvSpPr/>
          <p:nvPr/>
        </p:nvSpPr>
        <p:spPr>
          <a:xfrm>
            <a:off x="196168" y="2875445"/>
            <a:ext cx="4191428" cy="3824621"/>
          </a:xfrm>
          <a:prstGeom prst="wedgeRectCallout">
            <a:avLst>
              <a:gd name="adj1" fmla="val 63262"/>
              <a:gd name="adj2" fmla="val -3459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fr-FR" b="1" dirty="0" smtClean="0"/>
              <a:t>Concerne bien les données à caractère Personnelles.</a:t>
            </a:r>
            <a:endParaRPr lang="fr-FR" b="1" dirty="0"/>
          </a:p>
          <a:p>
            <a:r>
              <a:rPr lang="fr-FR" dirty="0" smtClean="0"/>
              <a:t>Nous pouvons à ce stade s’interroger sur les données concernées, comme par exemple:</a:t>
            </a:r>
          </a:p>
          <a:p>
            <a:r>
              <a:rPr lang="fr-FR" dirty="0" smtClean="0"/>
              <a:t>Genre, Date et lieu de Naissance, Nombre d’enfants, Copies de Diplômes et Certifications, Contrat de travail, Lettre de licenciement, Numéro(s) de document d’état civil (passeport, </a:t>
            </a:r>
            <a:r>
              <a:rPr lang="fr-FR" dirty="0" err="1" smtClean="0"/>
              <a:t>cni</a:t>
            </a:r>
            <a:r>
              <a:rPr lang="fr-FR" dirty="0" smtClean="0"/>
              <a:t>, carte de séjour …), liste des articles achetés, …/…</a:t>
            </a:r>
          </a:p>
          <a:p>
            <a:endParaRPr lang="fr-FR" dirty="0"/>
          </a:p>
          <a:p>
            <a:r>
              <a:rPr lang="fr-FR" sz="1400" i="1" u="sng" dirty="0" smtClean="0">
                <a:solidFill>
                  <a:schemeClr val="tx1"/>
                </a:solidFill>
              </a:rPr>
              <a:t>Cette liste n’est pas exhaustive, et ne vaut pas de référence à ce stade: Il faut creuser !</a:t>
            </a:r>
            <a:endParaRPr lang="fr-FR" sz="1400" i="1" u="sng" dirty="0">
              <a:solidFill>
                <a:schemeClr val="tx1"/>
              </a:solidFill>
            </a:endParaRPr>
          </a:p>
        </p:txBody>
      </p:sp>
      <p:sp>
        <p:nvSpPr>
          <p:cNvPr id="30" name="Rectangular Callout 29"/>
          <p:cNvSpPr/>
          <p:nvPr/>
        </p:nvSpPr>
        <p:spPr>
          <a:xfrm>
            <a:off x="9423445" y="5169028"/>
            <a:ext cx="2641578" cy="1244397"/>
          </a:xfrm>
          <a:prstGeom prst="wedgeRectCallout">
            <a:avLst>
              <a:gd name="adj1" fmla="val -57936"/>
              <a:gd name="adj2" fmla="val -5908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Obligation de rendre publique toute fuite (ou suspicion de fuite) de données dans les </a:t>
            </a:r>
            <a:r>
              <a:rPr lang="fr-FR" u="sng" dirty="0" smtClean="0"/>
              <a:t>72h</a:t>
            </a:r>
            <a:r>
              <a:rPr lang="fr-FR" dirty="0" smtClean="0"/>
              <a:t>.</a:t>
            </a:r>
            <a:endParaRPr lang="fr-FR" dirty="0"/>
          </a:p>
        </p:txBody>
      </p:sp>
      <p:sp>
        <p:nvSpPr>
          <p:cNvPr id="32" name="Rectangular Callout 31"/>
          <p:cNvSpPr/>
          <p:nvPr/>
        </p:nvSpPr>
        <p:spPr>
          <a:xfrm>
            <a:off x="7917519" y="5583091"/>
            <a:ext cx="4147503" cy="935122"/>
          </a:xfrm>
          <a:prstGeom prst="wedgeRectCallout">
            <a:avLst>
              <a:gd name="adj1" fmla="val -59862"/>
              <a:gd name="adj2" fmla="val -5261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Sur demande de la personne physique, obligation de supprimer toutes les données personnelles le concernant.</a:t>
            </a:r>
            <a:endParaRPr lang="fr-FR" dirty="0"/>
          </a:p>
        </p:txBody>
      </p:sp>
      <p:sp>
        <p:nvSpPr>
          <p:cNvPr id="26" name="Rectangular Callout 25"/>
          <p:cNvSpPr/>
          <p:nvPr/>
        </p:nvSpPr>
        <p:spPr>
          <a:xfrm>
            <a:off x="8253664" y="2211858"/>
            <a:ext cx="3679833" cy="2785089"/>
          </a:xfrm>
          <a:prstGeom prst="wedgeRectCallout">
            <a:avLst>
              <a:gd name="adj1" fmla="val -71624"/>
              <a:gd name="adj2" fmla="val -3425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Documenter les jeux de données pour définir la classification des informations, leur sensibilité, leur lieu de stockage.</a:t>
            </a:r>
          </a:p>
          <a:p>
            <a:pPr algn="ctr"/>
            <a:r>
              <a:rPr lang="fr-FR" dirty="0" smtClean="0"/>
              <a:t>Analyser l’impact de fuite et anticiper les moyens de prévention/sécurisation.</a:t>
            </a:r>
          </a:p>
          <a:p>
            <a:pPr algn="ctr"/>
            <a:r>
              <a:rPr lang="fr-FR" dirty="0" smtClean="0"/>
              <a:t>Définir la gouvernance sur le cycle de vie des données</a:t>
            </a:r>
          </a:p>
          <a:p>
            <a:pPr algn="ctr"/>
            <a:r>
              <a:rPr lang="fr-FR" sz="800" dirty="0" smtClean="0"/>
              <a:t>(Collecte, Traitement, Conservation, Destruction)</a:t>
            </a:r>
          </a:p>
        </p:txBody>
      </p:sp>
      <p:sp>
        <p:nvSpPr>
          <p:cNvPr id="29" name="Rectangular Callout 28"/>
          <p:cNvSpPr/>
          <p:nvPr/>
        </p:nvSpPr>
        <p:spPr>
          <a:xfrm>
            <a:off x="8012012" y="4517015"/>
            <a:ext cx="4053011" cy="1333007"/>
          </a:xfrm>
          <a:prstGeom prst="wedgeRectCallout">
            <a:avLst>
              <a:gd name="adj1" fmla="val -18501"/>
              <a:gd name="adj2" fmla="val -6538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Nécessité de nommer un responsable (personne physique) qui sera garante de la protection des données pour les entreprises de plus de 200 personnes.</a:t>
            </a:r>
            <a:endParaRPr lang="fr-FR" dirty="0"/>
          </a:p>
        </p:txBody>
      </p:sp>
      <p:sp>
        <p:nvSpPr>
          <p:cNvPr id="4" name="Flowchart: Document 3"/>
          <p:cNvSpPr/>
          <p:nvPr/>
        </p:nvSpPr>
        <p:spPr>
          <a:xfrm>
            <a:off x="5744710" y="2784042"/>
            <a:ext cx="832327" cy="462161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chemeClr val="tx1"/>
                </a:solidFill>
              </a:rPr>
              <a:t>DPIA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35" name="Rectangular Callout 34"/>
          <p:cNvSpPr/>
          <p:nvPr/>
        </p:nvSpPr>
        <p:spPr>
          <a:xfrm>
            <a:off x="378311" y="4467380"/>
            <a:ext cx="4147503" cy="1304492"/>
          </a:xfrm>
          <a:prstGeom prst="wedgeRectCallout">
            <a:avLst>
              <a:gd name="adj1" fmla="val 46653"/>
              <a:gd name="adj2" fmla="val -6603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Obligation de permettre à la personne physique de pouvoir déplacer (ou faire déplacer) les données le concernant (export/import).</a:t>
            </a:r>
            <a:endParaRPr lang="fr-FR" dirty="0"/>
          </a:p>
        </p:txBody>
      </p:sp>
      <p:sp>
        <p:nvSpPr>
          <p:cNvPr id="39" name="Rounded Rectangular Callout 38"/>
          <p:cNvSpPr/>
          <p:nvPr/>
        </p:nvSpPr>
        <p:spPr>
          <a:xfrm>
            <a:off x="436993" y="3562972"/>
            <a:ext cx="5535857" cy="1530749"/>
          </a:xfrm>
          <a:prstGeom prst="wedgeRoundRectCallout">
            <a:avLst>
              <a:gd name="adj1" fmla="val 47968"/>
              <a:gd name="adj2" fmla="val -77995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fr-FR" sz="1400" b="1" dirty="0" smtClean="0">
                <a:solidFill>
                  <a:srgbClr val="0070C0"/>
                </a:solidFill>
              </a:rPr>
              <a:t>Data </a:t>
            </a:r>
            <a:r>
              <a:rPr lang="fr-FR" sz="1400" b="1" dirty="0" err="1" smtClean="0">
                <a:solidFill>
                  <a:srgbClr val="0070C0"/>
                </a:solidFill>
              </a:rPr>
              <a:t>Privacy</a:t>
            </a:r>
            <a:r>
              <a:rPr lang="fr-FR" sz="1400" b="1" dirty="0" smtClean="0">
                <a:solidFill>
                  <a:srgbClr val="0070C0"/>
                </a:solidFill>
              </a:rPr>
              <a:t> Impact </a:t>
            </a:r>
            <a:r>
              <a:rPr lang="fr-FR" sz="1400" b="1" dirty="0" err="1" smtClean="0">
                <a:solidFill>
                  <a:srgbClr val="0070C0"/>
                </a:solidFill>
              </a:rPr>
              <a:t>Assessment</a:t>
            </a:r>
            <a:endParaRPr lang="fr-FR" sz="1400" b="1" dirty="0" smtClean="0">
              <a:solidFill>
                <a:srgbClr val="0070C0"/>
              </a:solidFill>
            </a:endParaRPr>
          </a:p>
          <a:p>
            <a:r>
              <a:rPr lang="fr-FR" sz="1400" dirty="0" smtClean="0">
                <a:solidFill>
                  <a:srgbClr val="0070C0"/>
                </a:solidFill>
              </a:rPr>
              <a:t>Un document pour démontrer que l’entreprise</a:t>
            </a:r>
          </a:p>
          <a:p>
            <a:pPr marL="285750" indent="-285750">
              <a:buFontTx/>
              <a:buChar char="-"/>
            </a:pPr>
            <a:r>
              <a:rPr lang="fr-FR" sz="1400" dirty="0" smtClean="0">
                <a:solidFill>
                  <a:srgbClr val="0070C0"/>
                </a:solidFill>
              </a:rPr>
              <a:t>maitrise la sécurisation des données à caractère personnel.</a:t>
            </a:r>
          </a:p>
          <a:p>
            <a:pPr marL="285750" indent="-285750">
              <a:buFontTx/>
              <a:buChar char="-"/>
            </a:pPr>
            <a:r>
              <a:rPr lang="fr-FR" sz="1400" dirty="0" smtClean="0">
                <a:solidFill>
                  <a:srgbClr val="0070C0"/>
                </a:solidFill>
              </a:rPr>
              <a:t>a mis en place la démarche et les moyens nécessaires pour se prémunir des fuites de tout ou parties des dites informations. </a:t>
            </a:r>
            <a:endParaRPr lang="fr-FR" sz="1400" dirty="0">
              <a:solidFill>
                <a:srgbClr val="0070C0"/>
              </a:solidFill>
            </a:endParaRPr>
          </a:p>
        </p:txBody>
      </p:sp>
      <p:sp>
        <p:nvSpPr>
          <p:cNvPr id="27" name="Rectangular Callout 26"/>
          <p:cNvSpPr/>
          <p:nvPr/>
        </p:nvSpPr>
        <p:spPr>
          <a:xfrm>
            <a:off x="9375368" y="2756186"/>
            <a:ext cx="2689655" cy="1268617"/>
          </a:xfrm>
          <a:prstGeom prst="wedgeRectCallout">
            <a:avLst>
              <a:gd name="adj1" fmla="val -58482"/>
              <a:gd name="adj2" fmla="val 147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Tous les jeux de données doivent être sécurisés « par conception ».</a:t>
            </a:r>
            <a:endParaRPr lang="fr-FR" dirty="0"/>
          </a:p>
        </p:txBody>
      </p:sp>
      <p:sp>
        <p:nvSpPr>
          <p:cNvPr id="41" name="Rounded Rectangular Callout 40"/>
          <p:cNvSpPr/>
          <p:nvPr/>
        </p:nvSpPr>
        <p:spPr>
          <a:xfrm>
            <a:off x="4126523" y="4757088"/>
            <a:ext cx="7907801" cy="1831794"/>
          </a:xfrm>
          <a:prstGeom prst="wedgeRoundRectCallout">
            <a:avLst>
              <a:gd name="adj1" fmla="val 33704"/>
              <a:gd name="adj2" fmla="val -97912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fr-FR" sz="1400" dirty="0" smtClean="0">
                <a:solidFill>
                  <a:srgbClr val="0070C0"/>
                </a:solidFill>
              </a:rPr>
              <a:t>/!\ Il conviendra de potentiellement </a:t>
            </a:r>
            <a:r>
              <a:rPr lang="fr-FR" sz="1400" b="1" dirty="0" smtClean="0">
                <a:solidFill>
                  <a:srgbClr val="0070C0"/>
                </a:solidFill>
              </a:rPr>
              <a:t>revoir le mode de stockage en base de données </a:t>
            </a:r>
            <a:r>
              <a:rPr lang="fr-FR" sz="1400" dirty="0" smtClean="0">
                <a:solidFill>
                  <a:srgbClr val="0070C0"/>
                </a:solidFill>
              </a:rPr>
              <a:t>pour potentiellement </a:t>
            </a:r>
            <a:r>
              <a:rPr lang="fr-FR" sz="1400" u="sng" dirty="0" smtClean="0">
                <a:solidFill>
                  <a:srgbClr val="0070C0"/>
                </a:solidFill>
              </a:rPr>
              <a:t>disperser les informations</a:t>
            </a:r>
            <a:r>
              <a:rPr lang="fr-FR" sz="1400" dirty="0">
                <a:solidFill>
                  <a:srgbClr val="0070C0"/>
                </a:solidFill>
              </a:rPr>
              <a:t>:</a:t>
            </a:r>
            <a:r>
              <a:rPr lang="fr-FR" sz="1400" dirty="0" smtClean="0">
                <a:solidFill>
                  <a:srgbClr val="0070C0"/>
                </a:solidFill>
              </a:rPr>
              <a:t> Il faut rendre l’information moins facilement exploitable par les processus de pénétration ou par des personnes malveillantes qui souhaiteraient en faire l’extraction.</a:t>
            </a:r>
          </a:p>
          <a:p>
            <a:endParaRPr lang="fr-FR" sz="1400" dirty="0" smtClean="0">
              <a:solidFill>
                <a:srgbClr val="0070C0"/>
              </a:solidFill>
            </a:endParaRPr>
          </a:p>
          <a:p>
            <a:r>
              <a:rPr lang="fr-FR" sz="1400" dirty="0" smtClean="0">
                <a:solidFill>
                  <a:srgbClr val="0070C0"/>
                </a:solidFill>
              </a:rPr>
              <a:t>/!\ Les données sont trop souvent </a:t>
            </a:r>
            <a:r>
              <a:rPr lang="fr-FR" sz="1400" b="1" dirty="0" smtClean="0">
                <a:solidFill>
                  <a:srgbClr val="0070C0"/>
                </a:solidFill>
              </a:rPr>
              <a:t>stockées dans des documents bureautiques</a:t>
            </a:r>
            <a:r>
              <a:rPr lang="fr-FR" sz="1400" dirty="0" smtClean="0">
                <a:solidFill>
                  <a:srgbClr val="0070C0"/>
                </a:solidFill>
              </a:rPr>
              <a:t>: Il faudra faire la chasse aux informations conservées dans des tableurs graphiques,  sur les « drives » de type </a:t>
            </a:r>
            <a:r>
              <a:rPr lang="fr-FR" sz="1400" dirty="0" err="1" smtClean="0">
                <a:solidFill>
                  <a:srgbClr val="0070C0"/>
                </a:solidFill>
              </a:rPr>
              <a:t>google</a:t>
            </a:r>
            <a:r>
              <a:rPr lang="fr-FR" sz="1400" dirty="0" smtClean="0">
                <a:solidFill>
                  <a:srgbClr val="0070C0"/>
                </a:solidFill>
              </a:rPr>
              <a:t>®, </a:t>
            </a:r>
            <a:r>
              <a:rPr lang="fr-FR" sz="1400" dirty="0" err="1" smtClean="0">
                <a:solidFill>
                  <a:srgbClr val="0070C0"/>
                </a:solidFill>
              </a:rPr>
              <a:t>microsoft</a:t>
            </a:r>
            <a:r>
              <a:rPr lang="fr-FR" sz="1400" dirty="0" smtClean="0">
                <a:solidFill>
                  <a:srgbClr val="0070C0"/>
                </a:solidFill>
              </a:rPr>
              <a:t>®, </a:t>
            </a:r>
            <a:r>
              <a:rPr lang="fr-FR" sz="1400" dirty="0" err="1" smtClean="0">
                <a:solidFill>
                  <a:srgbClr val="0070C0"/>
                </a:solidFill>
              </a:rPr>
              <a:t>dropbox</a:t>
            </a:r>
            <a:r>
              <a:rPr lang="fr-FR" sz="1400" dirty="0" smtClean="0">
                <a:solidFill>
                  <a:srgbClr val="0070C0"/>
                </a:solidFill>
              </a:rPr>
              <a:t>® et autres applications dans le « cloud » non contrôlés … </a:t>
            </a:r>
            <a:endParaRPr lang="fr-FR" sz="1400" dirty="0">
              <a:solidFill>
                <a:srgbClr val="0070C0"/>
              </a:solidFill>
            </a:endParaRPr>
          </a:p>
        </p:txBody>
      </p:sp>
      <p:sp>
        <p:nvSpPr>
          <p:cNvPr id="38" name="Rounded Rectangular Callout 37"/>
          <p:cNvSpPr/>
          <p:nvPr/>
        </p:nvSpPr>
        <p:spPr>
          <a:xfrm>
            <a:off x="124189" y="4957233"/>
            <a:ext cx="7798991" cy="1530749"/>
          </a:xfrm>
          <a:prstGeom prst="wedgeRoundRectCallout">
            <a:avLst>
              <a:gd name="adj1" fmla="val 54952"/>
              <a:gd name="adj2" fmla="val -33065"/>
              <a:gd name="adj3" fmla="val 1666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70C0"/>
                </a:solidFill>
              </a:rPr>
              <a:t>Il faut identifier un collaborateur prêt à prendre le </a:t>
            </a:r>
            <a:r>
              <a:rPr lang="fr-FR" sz="1400" b="1" dirty="0" smtClean="0">
                <a:solidFill>
                  <a:srgbClr val="0070C0"/>
                </a:solidFill>
              </a:rPr>
              <a:t>rôle de «</a:t>
            </a:r>
            <a:r>
              <a:rPr lang="fr-FR" sz="1400" b="1" i="1" dirty="0">
                <a:solidFill>
                  <a:schemeClr val="bg1">
                    <a:lumMod val="50000"/>
                  </a:schemeClr>
                </a:solidFill>
              </a:rPr>
              <a:t> poil à gratter de </a:t>
            </a:r>
            <a:r>
              <a:rPr lang="fr-FR" sz="1400" b="1" i="1" dirty="0" smtClean="0">
                <a:solidFill>
                  <a:schemeClr val="bg1">
                    <a:lumMod val="50000"/>
                  </a:schemeClr>
                </a:solidFill>
              </a:rPr>
              <a:t>l’organisation</a:t>
            </a:r>
            <a:r>
              <a:rPr lang="fr-FR" sz="1400" b="1" dirty="0" smtClean="0">
                <a:solidFill>
                  <a:srgbClr val="0070C0"/>
                </a:solidFill>
              </a:rPr>
              <a:t>»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70C0"/>
                </a:solidFill>
              </a:rPr>
              <a:t>Le DPO doit être en </a:t>
            </a:r>
            <a:r>
              <a:rPr lang="fr-FR" sz="1400" b="1" dirty="0" smtClean="0">
                <a:solidFill>
                  <a:srgbClr val="0070C0"/>
                </a:solidFill>
              </a:rPr>
              <a:t>relation direct avec tous les responsables exécutifs</a:t>
            </a:r>
            <a:r>
              <a:rPr lang="fr-FR" sz="1400" dirty="0" smtClean="0">
                <a:solidFill>
                  <a:srgbClr val="0070C0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rgbClr val="0070C0"/>
                </a:solidFill>
              </a:rPr>
              <a:t>Le DPO </a:t>
            </a:r>
            <a:r>
              <a:rPr lang="fr-FR" sz="1400" b="1" dirty="0" smtClean="0">
                <a:solidFill>
                  <a:srgbClr val="0070C0"/>
                </a:solidFill>
              </a:rPr>
              <a:t>ne peut pas être rattaché à la direction informatique </a:t>
            </a:r>
            <a:r>
              <a:rPr lang="fr-FR" sz="1400" dirty="0" smtClean="0">
                <a:solidFill>
                  <a:srgbClr val="0070C0"/>
                </a:solidFill>
              </a:rPr>
              <a:t>et ne devrait pas être un rôle forcément réservé au juriste ou à l’un des membres du comité de direction et/ou </a:t>
            </a:r>
            <a:r>
              <a:rPr lang="fr-FR" sz="1400" dirty="0" err="1" smtClean="0">
                <a:solidFill>
                  <a:srgbClr val="0070C0"/>
                </a:solidFill>
              </a:rPr>
              <a:t>executif</a:t>
            </a:r>
            <a:r>
              <a:rPr lang="fr-FR" sz="1400" dirty="0" smtClean="0">
                <a:solidFill>
                  <a:srgbClr val="0070C0"/>
                </a:solidFill>
              </a:rPr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3179813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6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0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500"/>
                            </p:stCondLst>
                            <p:childTnLst>
                              <p:par>
                                <p:cTn id="1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500"/>
                            </p:stCondLst>
                            <p:childTnLst>
                              <p:par>
                                <p:cTn id="13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500"/>
                            </p:stCondLst>
                            <p:childTnLst>
                              <p:par>
                                <p:cTn id="1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500"/>
                            </p:stCondLst>
                            <p:childTnLst>
                              <p:par>
                                <p:cTn id="15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"/>
                            </p:stCondLst>
                            <p:childTnLst>
                              <p:par>
                                <p:cTn id="1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8" fill="hold">
                      <p:stCondLst>
                        <p:cond delay="indefinite"/>
                      </p:stCondLst>
                      <p:childTnLst>
                        <p:par>
                          <p:cTn id="159" fill="hold">
                            <p:stCondLst>
                              <p:cond delay="0"/>
                            </p:stCondLst>
                            <p:childTnLst>
                              <p:par>
                                <p:cTn id="1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500"/>
                            </p:stCondLst>
                            <p:childTnLst>
                              <p:par>
                                <p:cTn id="16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500"/>
                            </p:stCondLst>
                            <p:childTnLst>
                              <p:par>
                                <p:cTn id="17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>
                      <p:stCondLst>
                        <p:cond delay="indefinite"/>
                      </p:stCondLst>
                      <p:childTnLst>
                        <p:par>
                          <p:cTn id="174" fill="hold">
                            <p:stCondLst>
                              <p:cond delay="0"/>
                            </p:stCondLst>
                            <p:childTnLst>
                              <p:par>
                                <p:cTn id="1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8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33" grpId="0" animBg="1"/>
      <p:bldP spid="33" grpId="1" animBg="1"/>
      <p:bldP spid="36" grpId="0" animBg="1"/>
      <p:bldP spid="36" grpId="1" animBg="1"/>
      <p:bldP spid="30" grpId="0" animBg="1"/>
      <p:bldP spid="30" grpId="1" animBg="1"/>
      <p:bldP spid="32" grpId="0" animBg="1"/>
      <p:bldP spid="32" grpId="1" animBg="1"/>
      <p:bldP spid="26" grpId="0" animBg="1"/>
      <p:bldP spid="26" grpId="1" animBg="1"/>
      <p:bldP spid="29" grpId="0" animBg="1"/>
      <p:bldP spid="29" grpId="1" animBg="1"/>
      <p:bldP spid="4" grpId="0" animBg="1"/>
      <p:bldP spid="35" grpId="0" animBg="1"/>
      <p:bldP spid="35" grpId="1" animBg="1"/>
      <p:bldP spid="39" grpId="0" animBg="1"/>
      <p:bldP spid="39" grpId="1" animBg="1"/>
      <p:bldP spid="27" grpId="0" animBg="1"/>
      <p:bldP spid="27" grpId="1" animBg="1"/>
      <p:bldP spid="41" grpId="0" animBg="1"/>
      <p:bldP spid="41" grpId="1" animBg="1"/>
      <p:bldP spid="38" grpId="0" animBg="1"/>
      <p:bldP spid="38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RGPD: </a:t>
            </a:r>
            <a:r>
              <a:rPr lang="fr-FR" dirty="0" smtClean="0"/>
              <a:t>quelques mots clés de « sensibilisation »</a:t>
            </a:r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228600" y="930652"/>
            <a:ext cx="11783646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2000" dirty="0" smtClean="0"/>
              <a:t> </a:t>
            </a:r>
            <a:r>
              <a:rPr lang="fr-FR" sz="2000" dirty="0" smtClean="0">
                <a:solidFill>
                  <a:srgbClr val="0070C0"/>
                </a:solidFill>
              </a:rPr>
              <a:t>TOUTES LES ORGANISATIONS </a:t>
            </a:r>
            <a:r>
              <a:rPr lang="fr-FR" sz="2000" dirty="0" smtClean="0"/>
              <a:t>stockent </a:t>
            </a:r>
            <a:r>
              <a:rPr lang="fr-FR" sz="2000" dirty="0"/>
              <a:t>des </a:t>
            </a:r>
            <a:r>
              <a:rPr lang="fr-FR" sz="2000" dirty="0" smtClean="0"/>
              <a:t>données </a:t>
            </a:r>
            <a:r>
              <a:rPr lang="fr-FR" sz="2000" dirty="0"/>
              <a:t>à caractère « personnel </a:t>
            </a:r>
            <a:r>
              <a:rPr lang="fr-FR" sz="2000" dirty="0" smtClean="0"/>
              <a:t>», </a:t>
            </a:r>
            <a:r>
              <a:rPr lang="fr-FR" sz="2000" u="sng" dirty="0" smtClean="0"/>
              <a:t>y compris au format bureautique</a:t>
            </a:r>
            <a:r>
              <a:rPr lang="fr-FR" sz="20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20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2000" dirty="0" smtClean="0"/>
              <a:t>La fonction « </a:t>
            </a:r>
            <a:r>
              <a:rPr lang="fr-FR" sz="2000" dirty="0" smtClean="0">
                <a:solidFill>
                  <a:srgbClr val="0070C0"/>
                </a:solidFill>
              </a:rPr>
              <a:t>DPO</a:t>
            </a:r>
            <a:r>
              <a:rPr lang="fr-FR" sz="2000" dirty="0" smtClean="0"/>
              <a:t> » ne devrait </a:t>
            </a:r>
            <a:r>
              <a:rPr lang="fr-FR" sz="2000" dirty="0" smtClean="0">
                <a:solidFill>
                  <a:srgbClr val="0070C0"/>
                </a:solidFill>
              </a:rPr>
              <a:t>pas être limitée aux « organismes de taille importante ».</a:t>
            </a:r>
          </a:p>
          <a:p>
            <a:pPr lvl="1"/>
            <a:r>
              <a:rPr lang="fr-FR" dirty="0" smtClean="0"/>
              <a:t>- Elle doit pouvoir - à minima - être tenue par une personne physiques déjà en place dans l’organisation.</a:t>
            </a:r>
          </a:p>
          <a:p>
            <a:pPr lvl="1"/>
            <a:r>
              <a:rPr lang="fr-FR" dirty="0" smtClean="0"/>
              <a:t>- Si le temps alloué sera important d’ici l’été 2018, la fonction pourra à terme être tenue à « temps partiel » dans les petites structure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20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2000" dirty="0" smtClean="0"/>
              <a:t>Plus que jamais, il </a:t>
            </a:r>
            <a:r>
              <a:rPr lang="fr-FR" sz="2000" dirty="0"/>
              <a:t>faut que </a:t>
            </a:r>
            <a:r>
              <a:rPr lang="fr-FR" sz="2000" dirty="0">
                <a:solidFill>
                  <a:srgbClr val="0070C0"/>
                </a:solidFill>
              </a:rPr>
              <a:t>la protection de TOUTES LES DONNEES </a:t>
            </a:r>
            <a:r>
              <a:rPr lang="fr-FR" sz="2000" dirty="0"/>
              <a:t>soit une </a:t>
            </a:r>
            <a:r>
              <a:rPr lang="fr-FR" sz="2000" b="1" u="sng" dirty="0"/>
              <a:t>notion omniprésente</a:t>
            </a:r>
            <a:r>
              <a:rPr lang="fr-FR" sz="2000" dirty="0"/>
              <a:t> chez tous les collaborateurs et sous-traitants de l’organisation</a:t>
            </a:r>
            <a:r>
              <a:rPr lang="fr-FR" sz="20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20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2000" dirty="0" smtClean="0"/>
              <a:t>La sécurité des données impacte directement </a:t>
            </a:r>
            <a:r>
              <a:rPr lang="fr-FR" sz="2000" dirty="0" smtClean="0">
                <a:solidFill>
                  <a:srgbClr val="0070C0"/>
                </a:solidFill>
              </a:rPr>
              <a:t>la réputation </a:t>
            </a:r>
            <a:r>
              <a:rPr lang="fr-FR" sz="2000" dirty="0" smtClean="0"/>
              <a:t>des organisations et de leurs collaborateur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20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2000" dirty="0" smtClean="0"/>
              <a:t>Pour que les représentants légaux des organisations puissent </a:t>
            </a:r>
            <a:r>
              <a:rPr lang="fr-FR" sz="2000" dirty="0" smtClean="0">
                <a:solidFill>
                  <a:srgbClr val="0070C0"/>
                </a:solidFill>
              </a:rPr>
              <a:t>partir en congés sereinement </a:t>
            </a:r>
            <a:r>
              <a:rPr lang="fr-FR" sz="2000" dirty="0" smtClean="0"/>
              <a:t>durant </a:t>
            </a:r>
            <a:r>
              <a:rPr lang="fr-FR" sz="2000" dirty="0" smtClean="0">
                <a:solidFill>
                  <a:srgbClr val="0070C0"/>
                </a:solidFill>
              </a:rPr>
              <a:t>l’été 2018</a:t>
            </a:r>
            <a:r>
              <a:rPr lang="fr-FR" sz="2000" dirty="0" smtClean="0"/>
              <a:t>, et ne pas devoir </a:t>
            </a:r>
            <a:r>
              <a:rPr lang="fr-FR" sz="2000" dirty="0" smtClean="0">
                <a:solidFill>
                  <a:srgbClr val="0070C0"/>
                </a:solidFill>
              </a:rPr>
              <a:t>provisionner une amende </a:t>
            </a:r>
            <a:r>
              <a:rPr lang="fr-FR" sz="2000" dirty="0" smtClean="0"/>
              <a:t>de la part de la CNIL sur les prochains exercices fiscaux, </a:t>
            </a:r>
            <a:r>
              <a:rPr lang="fr-FR" sz="2000" dirty="0" smtClean="0">
                <a:solidFill>
                  <a:srgbClr val="0070C0"/>
                </a:solidFill>
              </a:rPr>
              <a:t>il faut un plan « RGPD ».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fr-FR" sz="20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615" y="67523"/>
            <a:ext cx="1672046" cy="691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502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 smtClean="0"/>
              <a:t>RGPD: plan </a:t>
            </a:r>
            <a:r>
              <a:rPr lang="fr-FR" dirty="0"/>
              <a:t>d’actions suggéré</a:t>
            </a:r>
          </a:p>
        </p:txBody>
      </p:sp>
      <p:sp>
        <p:nvSpPr>
          <p:cNvPr id="6" name="Rectangle 5"/>
          <p:cNvSpPr/>
          <p:nvPr/>
        </p:nvSpPr>
        <p:spPr>
          <a:xfrm>
            <a:off x="322728" y="940267"/>
            <a:ext cx="11510683" cy="3900326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0" rtlCol="0" anchor="ctr"/>
          <a:lstStyle/>
          <a:p>
            <a:r>
              <a:rPr lang="fr-FR" sz="2000" b="1" dirty="0">
                <a:solidFill>
                  <a:schemeClr val="tx1"/>
                </a:solidFill>
                <a:latin typeface="Museo Sans 300" panose="02000000000000000000" pitchFamily="50" charset="0"/>
              </a:rPr>
              <a:t>Un plan </a:t>
            </a:r>
            <a:r>
              <a:rPr lang="fr-FR" sz="2000" b="1" dirty="0" smtClean="0">
                <a:solidFill>
                  <a:schemeClr val="tx1"/>
                </a:solidFill>
                <a:latin typeface="Museo Sans 300" panose="02000000000000000000" pitchFamily="50" charset="0"/>
              </a:rPr>
              <a:t>d’actions</a:t>
            </a:r>
          </a:p>
          <a:p>
            <a:r>
              <a:rPr lang="fr-FR" sz="2000" b="1" dirty="0">
                <a:solidFill>
                  <a:schemeClr val="tx1"/>
                </a:solidFill>
                <a:latin typeface="Museo Sans 300" panose="02000000000000000000" pitchFamily="50" charset="0"/>
              </a:rPr>
              <a:t>e</a:t>
            </a:r>
            <a:r>
              <a:rPr lang="fr-FR" sz="2000" b="1" dirty="0" smtClean="0">
                <a:solidFill>
                  <a:schemeClr val="tx1"/>
                </a:solidFill>
                <a:latin typeface="Museo Sans 300" panose="02000000000000000000" pitchFamily="50" charset="0"/>
              </a:rPr>
              <a:t>n sept étapes</a:t>
            </a:r>
            <a:endParaRPr lang="fr-FR" sz="2000" b="1" dirty="0">
              <a:solidFill>
                <a:schemeClr val="tx1"/>
              </a:solidFill>
              <a:latin typeface="Museo Sans 300" panose="02000000000000000000" pitchFamily="50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250831" y="1120441"/>
            <a:ext cx="9486057" cy="54677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 smtClean="0"/>
              <a:t>Identifier et nommer </a:t>
            </a:r>
            <a:r>
              <a:rPr lang="fr-FR" sz="1600" b="1" dirty="0"/>
              <a:t>une personne « DPO </a:t>
            </a:r>
            <a:r>
              <a:rPr lang="fr-FR" sz="1600" b="1" dirty="0" smtClean="0"/>
              <a:t>».</a:t>
            </a:r>
            <a:endParaRPr lang="fr-FR" sz="16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9615" y="67523"/>
            <a:ext cx="1672046" cy="691017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2250831" y="1587750"/>
            <a:ext cx="9486057" cy="604315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/>
              <a:t>R</a:t>
            </a:r>
            <a:r>
              <a:rPr lang="fr-FR" sz="1600" b="1" dirty="0" smtClean="0"/>
              <a:t>ecenser l’emplacement et les </a:t>
            </a:r>
            <a:r>
              <a:rPr lang="fr-FR" sz="1600" b="1" dirty="0"/>
              <a:t>traitements </a:t>
            </a:r>
            <a:r>
              <a:rPr lang="fr-FR" sz="1600" b="1" dirty="0" smtClean="0"/>
              <a:t>des </a:t>
            </a:r>
            <a:r>
              <a:rPr lang="fr-FR" sz="1600" b="1" dirty="0"/>
              <a:t>données dites « personnelles </a:t>
            </a:r>
            <a:r>
              <a:rPr lang="fr-FR" sz="1600" b="1" dirty="0" smtClean="0"/>
              <a:t>».</a:t>
            </a:r>
            <a:endParaRPr lang="fr-FR" sz="1600" b="1" dirty="0"/>
          </a:p>
        </p:txBody>
      </p:sp>
      <p:sp>
        <p:nvSpPr>
          <p:cNvPr id="8" name="Rounded Rectangle 7"/>
          <p:cNvSpPr/>
          <p:nvPr/>
        </p:nvSpPr>
        <p:spPr>
          <a:xfrm>
            <a:off x="2250831" y="2096997"/>
            <a:ext cx="9486057" cy="60431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/>
              <a:t>I</a:t>
            </a:r>
            <a:r>
              <a:rPr lang="fr-FR" sz="1600" b="1" dirty="0" smtClean="0"/>
              <a:t>dentifier les personnes habilitées à saisir/modifier/consulter/supprimer les informations « personnelles ».</a:t>
            </a:r>
            <a:endParaRPr lang="fr-FR" sz="1600" b="1" dirty="0"/>
          </a:p>
        </p:txBody>
      </p:sp>
      <p:sp>
        <p:nvSpPr>
          <p:cNvPr id="9" name="Rounded Rectangle 8"/>
          <p:cNvSpPr/>
          <p:nvPr/>
        </p:nvSpPr>
        <p:spPr>
          <a:xfrm>
            <a:off x="2250831" y="2606244"/>
            <a:ext cx="9486057" cy="60431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/>
              <a:t>Prioriser et planifier les actions de sécurisation à mener.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250831" y="3115491"/>
            <a:ext cx="9486057" cy="60431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/>
              <a:t>Organiser les processus internes de gestion continue du risque.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250831" y="3624738"/>
            <a:ext cx="9486057" cy="60431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>
                <a:solidFill>
                  <a:schemeClr val="tx1"/>
                </a:solidFill>
              </a:rPr>
              <a:t>Documenter la conformité (DPIA)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239108" y="4128827"/>
            <a:ext cx="9486057" cy="60431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b="1" dirty="0" smtClean="0">
                <a:solidFill>
                  <a:schemeClr val="bg1"/>
                </a:solidFill>
              </a:rPr>
              <a:t>Profiter de cette belle opportunité pour donner confiance et entretenir la « bonne » réputation.</a:t>
            </a:r>
            <a:endParaRPr lang="fr-FR" sz="16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58698"/>
            <a:ext cx="1578547" cy="1394602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1036183" y="5178727"/>
            <a:ext cx="10797228" cy="1543344"/>
          </a:xfrm>
          <a:prstGeom prst="roundRect">
            <a:avLst>
              <a:gd name="adj" fmla="val 6306"/>
            </a:avLst>
          </a:prstGeom>
          <a:solidFill>
            <a:schemeClr val="bg1">
              <a:lumMod val="85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u="sng" dirty="0" smtClean="0">
                <a:solidFill>
                  <a:srgbClr val="0070C0"/>
                </a:solidFill>
              </a:rPr>
              <a:t>vérifier régulièrement la capacité à adresser les </a:t>
            </a:r>
            <a:r>
              <a:rPr lang="fr-FR" sz="2400" b="1" u="sng" dirty="0">
                <a:solidFill>
                  <a:srgbClr val="0070C0"/>
                </a:solidFill>
              </a:rPr>
              <a:t>évènements de fuite de données</a:t>
            </a:r>
          </a:p>
          <a:p>
            <a:pPr algn="ctr"/>
            <a:endParaRPr lang="fr-FR" sz="1600" b="1" dirty="0" smtClean="0">
              <a:solidFill>
                <a:schemeClr val="tx1"/>
              </a:solidFill>
            </a:endParaRPr>
          </a:p>
          <a:p>
            <a:pPr algn="ctr"/>
            <a:r>
              <a:rPr lang="fr-FR" sz="2400" dirty="0" smtClean="0">
                <a:solidFill>
                  <a:schemeClr val="tx1"/>
                </a:solidFill>
              </a:rPr>
              <a:t>IL FAUDRA s’assurer que le </a:t>
            </a:r>
            <a:r>
              <a:rPr lang="fr-FR" sz="2400" dirty="0" smtClean="0">
                <a:solidFill>
                  <a:srgbClr val="0070C0"/>
                </a:solidFill>
              </a:rPr>
              <a:t>délai de 72 heures restera tenu dans le temps</a:t>
            </a:r>
            <a:r>
              <a:rPr lang="fr-FR" sz="2400" dirty="0" smtClean="0">
                <a:solidFill>
                  <a:schemeClr val="tx1"/>
                </a:solidFill>
              </a:rPr>
              <a:t>,</a:t>
            </a:r>
          </a:p>
          <a:p>
            <a:pPr algn="ctr"/>
            <a:r>
              <a:rPr lang="fr-FR" sz="2400" dirty="0" smtClean="0">
                <a:solidFill>
                  <a:schemeClr val="tx1"/>
                </a:solidFill>
              </a:rPr>
              <a:t>au fur et à mesure de l’évolution de votre système d’informations.  </a:t>
            </a:r>
            <a:endParaRPr lang="fr-FR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28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7" grpId="0" animBg="1"/>
      <p:bldP spid="8" grpId="0" animBg="1"/>
      <p:bldP spid="9" grpId="0" animBg="1"/>
      <p:bldP spid="10" grpId="0" animBg="1"/>
      <p:bldP spid="15" grpId="0" animBg="1"/>
      <p:bldP spid="16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IliG2FKEeSw2f2nh4g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B_gkLVrEekO1L.yOx8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xUtr5TXUeTmCmw_2jd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YWBXnvCUCt7id598KO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4uxjPJv0SvH5PgA9EU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ds.xwrkUS7_s0f3OOM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HGAWVwTUW7oi2q.VA7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N._GoftUS0qyIGlT4J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zVCOLuwEmj_TukBqNP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AMZGxB0UuYUAL2OGA1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ouLyAis06pK0jCFQSa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8hJrLLIU.QIgRKr4URj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E3QgusP0W.MDa7sNxp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7Pb9A_Ek6WfJ0mtZ9t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aA3LKjNkm_XiUgUgZ9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3eS7V3WESvKmTIxVFc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tBabWiykqOhxwLgWGn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bfS5VIxEW5_WSt06u2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ZezAQdLkG8sQS7Spcp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VQvCz0REK5STelu60y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hozx9Ctk6zQDe9ClKT2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EgjmFpXUOJHe13n7.L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HNnKBhKUOaAcPxiCwp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3hLMn0x0KjOxh7.j4R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ZbjCSM.kO__sM2iDL3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H3Qg3ej0yBUr.mezIM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JhQ0CeVEWBLeR6lvB2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gbTm0F8ES7evyyLI7F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ly81HZpkS.ys0JF48B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QzQ1E2RkS3YvJEj1dp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AnzG.c0EycW9s.CRbx3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emOT4F7UurNvrT_ZS1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OgJShKWkawkNDap6m3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T4A9ZKxEWuY6SKr_JU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9TniVXCE2MkZrNaqmQ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B8Ih8nRU2EwDquzmjG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aUp3T0q0iWW4dLBh7g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VQvCz0REK5STelu60y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pYTbcXgEeysO8HpkTi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daS7t.U.o3kA9KYDg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EwKib_0kiZcpNXEUhf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10_GTcUEip_ifnrzoD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NltQ442kScicplEtDH3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40</TotalTime>
  <Words>711</Words>
  <Application>Microsoft Office PowerPoint</Application>
  <PresentationFormat>Widescreen</PresentationFormat>
  <Paragraphs>143</Paragraphs>
  <Slides>5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Museo Sans 300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rve@lin.fr</Company>
  <LinksUpToDate>false</LinksUpToDate>
  <SharedDoc>false</SharedDoc>
  <HyperlinkBase>http://public.hervelin.com/whitepapers</HyperlinkBase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GPD</dc:title>
  <dc:subject>GDPR debrief</dc:subject>
  <dc:creator>Hervé LIN</dc:creator>
  <cp:lastModifiedBy>Hervé LIN</cp:lastModifiedBy>
  <cp:revision>142</cp:revision>
  <cp:lastPrinted>2017-07-24T09:19:20Z</cp:lastPrinted>
  <dcterms:created xsi:type="dcterms:W3CDTF">2017-07-21T08:31:59Z</dcterms:created>
  <dcterms:modified xsi:type="dcterms:W3CDTF">2017-09-29T14:42:37Z</dcterms:modified>
  <cp:category>Whitepaper</cp:category>
  <cp:contentStatus>Final</cp:contentStatus>
</cp:coreProperties>
</file>